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9"/>
  </p:notesMasterIdLst>
  <p:sldIdLst>
    <p:sldId id="297" r:id="rId6"/>
    <p:sldId id="301" r:id="rId7"/>
    <p:sldId id="298" r:id="rId8"/>
  </p:sldIdLst>
  <p:sldSz cx="12192000" cy="6858000"/>
  <p:notesSz cx="6858000" cy="9144000"/>
  <p:defaultTextStyle>
    <a:defPPr>
      <a:defRPr lang="et-E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9F9986-840F-8EAE-0136-5DEB78A052A5}" v="1502" dt="2024-02-13T13:58:54.8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67" d="100"/>
          <a:sy n="67" d="100"/>
        </p:scale>
        <p:origin x="4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97D28A-765F-44C9-9A2D-5333CD8FA148}" type="datetimeFigureOut">
              <a:t>2024-02-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07B5F0-EAA1-4F22-9C6D-C3F02B7122D6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052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Of course, while making these crucial adjustments, we have kept our pet first and nutrient philosophy approach, retaining all animal benefits and product performance without degradation to the diets despite ingredient adjustments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55B7A5-BF4C-40BA-8104-E82D4E4D677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0565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Of course, while making these crucial adjustments, we have kept our pet first and nutrient philosophy approach, retaining all animal benefits and product performance without degradation to the diets despite ingredient adjustments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55B7A5-BF4C-40BA-8104-E82D4E4D677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491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55B7A5-BF4C-40BA-8104-E82D4E4D677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2204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5.png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5.png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png"/><Relationship Id="rId9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9.xml"/><Relationship Id="rId6" Type="http://schemas.openxmlformats.org/officeDocument/2006/relationships/image" Target="../media/image4.sv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3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oleObject" Target="../embeddings/oleObject10.bin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3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3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3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oleObject" Target="../embeddings/oleObject13.bin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13.xml"/><Relationship Id="rId6" Type="http://schemas.openxmlformats.org/officeDocument/2006/relationships/image" Target="../media/image4.sv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3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26" Type="http://schemas.openxmlformats.org/officeDocument/2006/relationships/image" Target="../media/image4.svg"/><Relationship Id="rId3" Type="http://schemas.openxmlformats.org/officeDocument/2006/relationships/oleObject" Target="../embeddings/oleObject20.bin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5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23.svg"/><Relationship Id="rId20" Type="http://schemas.openxmlformats.org/officeDocument/2006/relationships/image" Target="../media/image27.svg"/><Relationship Id="rId1" Type="http://schemas.openxmlformats.org/officeDocument/2006/relationships/tags" Target="../tags/tag20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24" Type="http://schemas.openxmlformats.org/officeDocument/2006/relationships/image" Target="../media/image31.sv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10" Type="http://schemas.openxmlformats.org/officeDocument/2006/relationships/image" Target="../media/image17.svg"/><Relationship Id="rId19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29.svg"/><Relationship Id="rId27" Type="http://schemas.openxmlformats.org/officeDocument/2006/relationships/image" Target="../media/image33.jp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36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36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itelsla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t-EE"/>
              <a:t>Muutke tiitli laadi</a:t>
            </a:r>
          </a:p>
        </p:txBody>
      </p:sp>
      <p:sp>
        <p:nvSpPr>
          <p:cNvPr id="3" name="Alapealkiri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t-EE"/>
              <a:t>Klõpsake laadi muutmiseks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304133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itel ja vertikaal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/>
              <a:t>Muutke tiitli laadi</a:t>
            </a:r>
          </a:p>
        </p:txBody>
      </p:sp>
      <p:sp>
        <p:nvSpPr>
          <p:cNvPr id="3" name="Vertikaalteksti kohatäid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838638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altiitel ja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alti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t-EE"/>
              <a:t>Muutke tiitli laadi</a:t>
            </a:r>
          </a:p>
        </p:txBody>
      </p:sp>
      <p:sp>
        <p:nvSpPr>
          <p:cNvPr id="3" name="Vertikaalteksti kohatäid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722633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D0C1CBE5-6592-B524-42BF-A84D6B91BD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334" t="16541" r="34151" b="29080"/>
          <a:stretch/>
        </p:blipFill>
        <p:spPr>
          <a:xfrm>
            <a:off x="6850534" y="1"/>
            <a:ext cx="5341466" cy="6213097"/>
          </a:xfrm>
          <a:custGeom>
            <a:avLst/>
            <a:gdLst>
              <a:gd name="connsiteX0" fmla="*/ 676220 w 5341466"/>
              <a:gd name="connsiteY0" fmla="*/ 0 h 6213097"/>
              <a:gd name="connsiteX1" fmla="*/ 5341466 w 5341466"/>
              <a:gd name="connsiteY1" fmla="*/ 0 h 6213097"/>
              <a:gd name="connsiteX2" fmla="*/ 5341466 w 5341466"/>
              <a:gd name="connsiteY2" fmla="*/ 5978040 h 6213097"/>
              <a:gd name="connsiteX3" fmla="*/ 5177013 w 5341466"/>
              <a:gd name="connsiteY3" fmla="*/ 6033688 h 6213097"/>
              <a:gd name="connsiteX4" fmla="*/ 3990392 w 5341466"/>
              <a:gd name="connsiteY4" fmla="*/ 6213097 h 6213097"/>
              <a:gd name="connsiteX5" fmla="*/ 0 w 5341466"/>
              <a:gd name="connsiteY5" fmla="*/ 2222497 h 6213097"/>
              <a:gd name="connsiteX6" fmla="*/ 481619 w 5341466"/>
              <a:gd name="connsiteY6" fmla="*/ 320340 h 621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1466" h="6213097">
                <a:moveTo>
                  <a:pt x="676220" y="0"/>
                </a:moveTo>
                <a:lnTo>
                  <a:pt x="5341466" y="0"/>
                </a:lnTo>
                <a:lnTo>
                  <a:pt x="5341466" y="5978040"/>
                </a:lnTo>
                <a:lnTo>
                  <a:pt x="5177013" y="6033688"/>
                </a:lnTo>
                <a:cubicBezTo>
                  <a:pt x="4802160" y="6150285"/>
                  <a:pt x="4403611" y="6213097"/>
                  <a:pt x="3990392" y="6213097"/>
                </a:cubicBezTo>
                <a:cubicBezTo>
                  <a:pt x="1786559" y="6213097"/>
                  <a:pt x="0" y="4426445"/>
                  <a:pt x="0" y="2222497"/>
                </a:cubicBezTo>
                <a:cubicBezTo>
                  <a:pt x="0" y="1533763"/>
                  <a:pt x="174469" y="885781"/>
                  <a:pt x="481619" y="320340"/>
                </a:cubicBezTo>
                <a:close/>
              </a:path>
            </a:pathLst>
          </a:custGeom>
        </p:spPr>
      </p:pic>
      <p:sp>
        <p:nvSpPr>
          <p:cNvPr id="5" name="Ellipse 23">
            <a:extLst>
              <a:ext uri="{FF2B5EF4-FFF2-40B4-BE49-F238E27FC236}">
                <a16:creationId xmlns:a16="http://schemas.microsoft.com/office/drawing/2014/main" id="{597D6328-C952-7EAF-3357-E41FD561D3A8}"/>
              </a:ext>
            </a:extLst>
          </p:cNvPr>
          <p:cNvSpPr/>
          <p:nvPr userDrawn="1"/>
        </p:nvSpPr>
        <p:spPr>
          <a:xfrm>
            <a:off x="-164763" y="724740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B3D54B01-8EFF-A729-1804-C2C2BC6114C4}"/>
              </a:ext>
            </a:extLst>
          </p:cNvPr>
          <p:cNvSpPr/>
          <p:nvPr userDrawn="1"/>
        </p:nvSpPr>
        <p:spPr>
          <a:xfrm>
            <a:off x="-164763" y="228357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DC5697C-FE28-90D5-D402-F5CE5327AA22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55FC74-7499-93CE-C193-5280DEB8C31E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6ED9FA1-E26F-4148-447D-E85D6A741FCE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36" name="Title 19">
            <a:extLst>
              <a:ext uri="{FF2B5EF4-FFF2-40B4-BE49-F238E27FC236}">
                <a16:creationId xmlns:a16="http://schemas.microsoft.com/office/drawing/2014/main" id="{79F13D37-6953-1AEE-3678-9D5742BD5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219425"/>
            <a:ext cx="5548452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</a:t>
            </a:r>
            <a:br>
              <a:rPr lang="fr-FR"/>
            </a:br>
            <a:r>
              <a:rPr lang="fr-FR"/>
              <a:t>DIAPOSITIVE SUR 2 LIGN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804D368D-9AA7-85FE-BEC9-2B8F8A4EB6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736" y="964076"/>
            <a:ext cx="5548452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13BF0EA-16C3-AB8E-A250-777ECA9C8885}"/>
              </a:ext>
            </a:extLst>
          </p:cNvPr>
          <p:cNvSpPr txBox="1"/>
          <p:nvPr userDrawn="1"/>
        </p:nvSpPr>
        <p:spPr>
          <a:xfrm>
            <a:off x="-3610099" y="5106390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 rtl="0"/>
            <a:endParaRPr lang="fr-FR" sz="133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901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30" name="Text Placeholder 38">
            <a:extLst>
              <a:ext uri="{FF2B5EF4-FFF2-40B4-BE49-F238E27FC236}">
                <a16:creationId xmlns:a16="http://schemas.microsoft.com/office/drawing/2014/main" id="{DD649821-D7BD-2B94-FC50-4C51E7DF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3636" y="1891448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pic>
        <p:nvPicPr>
          <p:cNvPr id="31" name="Picture 1">
            <a:extLst>
              <a:ext uri="{FF2B5EF4-FFF2-40B4-BE49-F238E27FC236}">
                <a16:creationId xmlns:a16="http://schemas.microsoft.com/office/drawing/2014/main" id="{1CEBA391-38B1-0185-8D31-CA1C54A4C0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243" r="46149" b="33293"/>
          <a:stretch/>
        </p:blipFill>
        <p:spPr>
          <a:xfrm flipH="1">
            <a:off x="0" y="759401"/>
            <a:ext cx="4183598" cy="6098599"/>
          </a:xfrm>
          <a:prstGeom prst="rect">
            <a:avLst/>
          </a:prstGeom>
          <a:ln>
            <a:noFill/>
          </a:ln>
        </p:spPr>
      </p:pic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FFC4C1B7-D1E4-35F6-D58D-6302A834BB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2724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pic>
        <p:nvPicPr>
          <p:cNvPr id="31" name="Picture 1">
            <a:extLst>
              <a:ext uri="{FF2B5EF4-FFF2-40B4-BE49-F238E27FC236}">
                <a16:creationId xmlns:a16="http://schemas.microsoft.com/office/drawing/2014/main" id="{1CEBA391-38B1-0185-8D31-CA1C54A4C0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243" r="46149" b="33293"/>
          <a:stretch/>
        </p:blipFill>
        <p:spPr>
          <a:xfrm flipH="1">
            <a:off x="0" y="759401"/>
            <a:ext cx="4183598" cy="6098599"/>
          </a:xfrm>
          <a:prstGeom prst="rect">
            <a:avLst/>
          </a:prstGeom>
          <a:ln>
            <a:noFill/>
          </a:ln>
        </p:spPr>
      </p:pic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FFC4C1B7-D1E4-35F6-D58D-6302A834BB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203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30" name="Text Placeholder 38">
            <a:extLst>
              <a:ext uri="{FF2B5EF4-FFF2-40B4-BE49-F238E27FC236}">
                <a16:creationId xmlns:a16="http://schemas.microsoft.com/office/drawing/2014/main" id="{DD649821-D7BD-2B94-FC50-4C51E7DF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3636" y="1891448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pic>
        <p:nvPicPr>
          <p:cNvPr id="2" name="Image 7">
            <a:extLst>
              <a:ext uri="{FF2B5EF4-FFF2-40B4-BE49-F238E27FC236}">
                <a16:creationId xmlns:a16="http://schemas.microsoft.com/office/drawing/2014/main" id="{588625C4-92C6-FD11-5DF6-9FB973DBDB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1396" t="-2558" r="23838" b="50926"/>
          <a:stretch/>
        </p:blipFill>
        <p:spPr>
          <a:xfrm>
            <a:off x="3176" y="-2"/>
            <a:ext cx="4934584" cy="6858002"/>
          </a:xfrm>
          <a:prstGeom prst="rect">
            <a:avLst/>
          </a:prstGeom>
        </p:spPr>
      </p:pic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CA23C6E8-EBF8-22D6-E85D-596C0ECCB0A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371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30" name="Text Placeholder 38">
            <a:extLst>
              <a:ext uri="{FF2B5EF4-FFF2-40B4-BE49-F238E27FC236}">
                <a16:creationId xmlns:a16="http://schemas.microsoft.com/office/drawing/2014/main" id="{DD649821-D7BD-2B94-FC50-4C51E7DF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3636" y="1891448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XX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439D422A-BA1B-6183-1CF5-DDDE57F489E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8B3061-39C3-5D72-C1BF-0C05CD2F05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6375" t="-5188" r="4198" b="43715"/>
          <a:stretch/>
        </p:blipFill>
        <p:spPr>
          <a:xfrm>
            <a:off x="0" y="348309"/>
            <a:ext cx="5648250" cy="6509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837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30" name="Text Placeholder 38">
            <a:extLst>
              <a:ext uri="{FF2B5EF4-FFF2-40B4-BE49-F238E27FC236}">
                <a16:creationId xmlns:a16="http://schemas.microsoft.com/office/drawing/2014/main" id="{DD649821-D7BD-2B94-FC50-4C51E7DF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3636" y="1891448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8E7B364-EC15-4C9C-35D9-B469F5F6F25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  <p:pic>
        <p:nvPicPr>
          <p:cNvPr id="4" name="Picture 3" descr="A black and white image of a dog&#10;&#10;Description automatically generated">
            <a:extLst>
              <a:ext uri="{FF2B5EF4-FFF2-40B4-BE49-F238E27FC236}">
                <a16:creationId xmlns:a16="http://schemas.microsoft.com/office/drawing/2014/main" id="{E95406A4-1D54-C151-9D45-92A8CC913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6106" b="14714"/>
          <a:stretch/>
        </p:blipFill>
        <p:spPr>
          <a:xfrm>
            <a:off x="680758" y="3176"/>
            <a:ext cx="4968290" cy="685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35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A94D73-46D4-9AEE-FAC7-74D5564C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606" r="12277"/>
          <a:stretch/>
        </p:blipFill>
        <p:spPr>
          <a:xfrm>
            <a:off x="2278097" y="-86627"/>
            <a:ext cx="9913903" cy="337829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9A913F1-9D32-315E-F0CF-E0566D493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95" r="8078" b="26355"/>
          <a:stretch/>
        </p:blipFill>
        <p:spPr>
          <a:xfrm>
            <a:off x="2844057" y="-1"/>
            <a:ext cx="9347943" cy="68580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1DD3850B-D4E7-4590-2C6F-7F0A4E4FA225}"/>
              </a:ext>
            </a:extLst>
          </p:cNvPr>
          <p:cNvCxnSpPr>
            <a:cxnSpLocks/>
          </p:cNvCxnSpPr>
          <p:nvPr userDrawn="1"/>
        </p:nvCxnSpPr>
        <p:spPr>
          <a:xfrm>
            <a:off x="6001404" y="4969042"/>
            <a:ext cx="86995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6">
            <a:extLst>
              <a:ext uri="{FF2B5EF4-FFF2-40B4-BE49-F238E27FC236}">
                <a16:creationId xmlns:a16="http://schemas.microsoft.com/office/drawing/2014/main" id="{9FF06219-29F4-25D5-9044-4F99BC823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1404" y="3803332"/>
            <a:ext cx="4014000" cy="9864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30" name="Text Placeholder 38">
            <a:extLst>
              <a:ext uri="{FF2B5EF4-FFF2-40B4-BE49-F238E27FC236}">
                <a16:creationId xmlns:a16="http://schemas.microsoft.com/office/drawing/2014/main" id="{DD649821-D7BD-2B94-FC50-4C51E7DF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3636" y="1891448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CAD226E2-2A97-502E-3AC0-FA3BA35A72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5404" y="339792"/>
            <a:ext cx="1742607" cy="41960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4E15773-9109-5ECE-8BAE-CF23509C9F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12225" t="17125" r="51608" b="42066"/>
          <a:stretch/>
        </p:blipFill>
        <p:spPr>
          <a:xfrm flipH="1">
            <a:off x="-3" y="2"/>
            <a:ext cx="5759429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8503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8AD3CF2D-5AC3-5A94-CF3A-F6DA56D61E6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37736" y="0"/>
            <a:ext cx="8854264" cy="5527744"/>
          </a:xfrm>
          <a:custGeom>
            <a:avLst/>
            <a:gdLst>
              <a:gd name="connsiteX0" fmla="*/ 0 w 8854264"/>
              <a:gd name="connsiteY0" fmla="*/ 0 h 5527744"/>
              <a:gd name="connsiteX1" fmla="*/ 8854264 w 8854264"/>
              <a:gd name="connsiteY1" fmla="*/ 0 h 5527744"/>
              <a:gd name="connsiteX2" fmla="*/ 8854264 w 8854264"/>
              <a:gd name="connsiteY2" fmla="*/ 5336602 h 5527744"/>
              <a:gd name="connsiteX3" fmla="*/ 8699512 w 8854264"/>
              <a:gd name="connsiteY3" fmla="*/ 5376391 h 5527744"/>
              <a:gd name="connsiteX4" fmla="*/ 7198125 w 8854264"/>
              <a:gd name="connsiteY4" fmla="*/ 5527744 h 5527744"/>
              <a:gd name="connsiteX5" fmla="*/ 83291 w 8854264"/>
              <a:gd name="connsiteY5" fmla="*/ 293314 h 5527744"/>
              <a:gd name="connsiteX6" fmla="*/ 0 w 8854264"/>
              <a:gd name="connsiteY6" fmla="*/ 3 h 5527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4264" h="5527744">
                <a:moveTo>
                  <a:pt x="0" y="0"/>
                </a:moveTo>
                <a:lnTo>
                  <a:pt x="8854264" y="0"/>
                </a:lnTo>
                <a:lnTo>
                  <a:pt x="8854264" y="5336602"/>
                </a:lnTo>
                <a:lnTo>
                  <a:pt x="8699512" y="5376391"/>
                </a:lnTo>
                <a:cubicBezTo>
                  <a:pt x="8214551" y="5475630"/>
                  <a:pt x="7712423" y="5527744"/>
                  <a:pt x="7198125" y="5527744"/>
                </a:cubicBezTo>
                <a:cubicBezTo>
                  <a:pt x="3855185" y="5527744"/>
                  <a:pt x="1026516" y="3325877"/>
                  <a:pt x="83291" y="293314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 de fond</a:t>
            </a:r>
          </a:p>
        </p:txBody>
      </p:sp>
      <p:sp>
        <p:nvSpPr>
          <p:cNvPr id="6" name="Ellipse 23">
            <a:extLst>
              <a:ext uri="{FF2B5EF4-FFF2-40B4-BE49-F238E27FC236}">
                <a16:creationId xmlns:a16="http://schemas.microsoft.com/office/drawing/2014/main" id="{923A2B64-2718-81D2-C418-2F01BE8109AA}"/>
              </a:ext>
            </a:extLst>
          </p:cNvPr>
          <p:cNvSpPr/>
          <p:nvPr userDrawn="1"/>
        </p:nvSpPr>
        <p:spPr>
          <a:xfrm>
            <a:off x="-198302" y="4468339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Ellipse 24">
            <a:extLst>
              <a:ext uri="{FF2B5EF4-FFF2-40B4-BE49-F238E27FC236}">
                <a16:creationId xmlns:a16="http://schemas.microsoft.com/office/drawing/2014/main" id="{FDF2FDA6-142A-4E7B-153D-997A52FBBE7A}"/>
              </a:ext>
            </a:extLst>
          </p:cNvPr>
          <p:cNvSpPr/>
          <p:nvPr userDrawn="1"/>
        </p:nvSpPr>
        <p:spPr>
          <a:xfrm>
            <a:off x="-198302" y="3971956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5AE772A2-D6FB-3AE9-4DBB-4F12A9657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24" y="3802896"/>
            <a:ext cx="4161600" cy="1231106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lnSpc>
                <a:spcPct val="100000"/>
              </a:lnSpc>
              <a:defRPr sz="40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56" name="Text Placeholder 38">
            <a:extLst>
              <a:ext uri="{FF2B5EF4-FFF2-40B4-BE49-F238E27FC236}">
                <a16:creationId xmlns:a16="http://schemas.microsoft.com/office/drawing/2014/main" id="{64781AEC-F515-FEDD-7BAA-57A6AD44FB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7736" y="673610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36B8FCE2-DEA0-B92D-F7ED-09997BD8CC5A}"/>
              </a:ext>
            </a:extLst>
          </p:cNvPr>
          <p:cNvSpPr/>
          <p:nvPr userDrawn="1"/>
        </p:nvSpPr>
        <p:spPr>
          <a:xfrm rot="8745704">
            <a:off x="3053514" y="-8822478"/>
            <a:ext cx="14774220" cy="14774220"/>
          </a:xfrm>
          <a:prstGeom prst="arc">
            <a:avLst/>
          </a:prstGeom>
          <a:ln w="44450"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9EA69EB8-3C10-9D46-889A-CEAE4464522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E50035E-1F0B-ACDE-932C-DC1F6A951AEA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97C57E45-86DE-B98D-36B1-08DE926304F4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grpSp>
        <p:nvGrpSpPr>
          <p:cNvPr id="2" name="Group 11">
            <a:extLst>
              <a:ext uri="{FF2B5EF4-FFF2-40B4-BE49-F238E27FC236}">
                <a16:creationId xmlns:a16="http://schemas.microsoft.com/office/drawing/2014/main" id="{883AB74B-C839-C3DD-A767-99F0AC36B3E0}"/>
              </a:ext>
            </a:extLst>
          </p:cNvPr>
          <p:cNvGrpSpPr/>
          <p:nvPr userDrawn="1"/>
        </p:nvGrpSpPr>
        <p:grpSpPr>
          <a:xfrm>
            <a:off x="1058531" y="5516336"/>
            <a:ext cx="2467428" cy="1272210"/>
            <a:chOff x="9988529" y="0"/>
            <a:chExt cx="1848137" cy="952903"/>
          </a:xfrm>
        </p:grpSpPr>
        <p:sp>
          <p:nvSpPr>
            <p:cNvPr id="4" name="Rectangle: Top Corners Rounded 7">
              <a:extLst>
                <a:ext uri="{FF2B5EF4-FFF2-40B4-BE49-F238E27FC236}">
                  <a16:creationId xmlns:a16="http://schemas.microsoft.com/office/drawing/2014/main" id="{7BE42B72-849B-6127-3B3A-1E32769E24E8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5" name="Group 13">
              <a:extLst>
                <a:ext uri="{FF2B5EF4-FFF2-40B4-BE49-F238E27FC236}">
                  <a16:creationId xmlns:a16="http://schemas.microsoft.com/office/drawing/2014/main" id="{C9157C2D-148C-1B2B-775C-2698BAF15478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7" name="Group 14">
                <a:extLst>
                  <a:ext uri="{FF2B5EF4-FFF2-40B4-BE49-F238E27FC236}">
                    <a16:creationId xmlns:a16="http://schemas.microsoft.com/office/drawing/2014/main" id="{30B843B4-A5EB-CF9B-F3E7-A6D5ABD2568D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3" name="Graphic 27">
                  <a:extLst>
                    <a:ext uri="{FF2B5EF4-FFF2-40B4-BE49-F238E27FC236}">
                      <a16:creationId xmlns:a16="http://schemas.microsoft.com/office/drawing/2014/main" id="{6B0D38F2-5A99-2BCF-2EF2-A0BC4A66980B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4" name="Graphic 28">
                  <a:extLst>
                    <a:ext uri="{FF2B5EF4-FFF2-40B4-BE49-F238E27FC236}">
                      <a16:creationId xmlns:a16="http://schemas.microsoft.com/office/drawing/2014/main" id="{A95AE290-883B-FFA1-FC94-D9E00033CB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8" name="Group 15">
                <a:extLst>
                  <a:ext uri="{FF2B5EF4-FFF2-40B4-BE49-F238E27FC236}">
                    <a16:creationId xmlns:a16="http://schemas.microsoft.com/office/drawing/2014/main" id="{A803D9F8-5636-2BF5-4388-A317F3F93FD3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1" name="Graphic 25">
                  <a:extLst>
                    <a:ext uri="{FF2B5EF4-FFF2-40B4-BE49-F238E27FC236}">
                      <a16:creationId xmlns:a16="http://schemas.microsoft.com/office/drawing/2014/main" id="{003D0886-56A1-462A-13D4-536AFE540D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2" name="Graphic 26">
                  <a:extLst>
                    <a:ext uri="{FF2B5EF4-FFF2-40B4-BE49-F238E27FC236}">
                      <a16:creationId xmlns:a16="http://schemas.microsoft.com/office/drawing/2014/main" id="{8C905E99-F7B5-0BFE-4771-3D534CC0F507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9" name="Group 16">
                <a:extLst>
                  <a:ext uri="{FF2B5EF4-FFF2-40B4-BE49-F238E27FC236}">
                    <a16:creationId xmlns:a16="http://schemas.microsoft.com/office/drawing/2014/main" id="{FB832BAD-4313-FE68-92B7-9475FAE4AEA7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19" name="Graphic 23">
                  <a:extLst>
                    <a:ext uri="{FF2B5EF4-FFF2-40B4-BE49-F238E27FC236}">
                      <a16:creationId xmlns:a16="http://schemas.microsoft.com/office/drawing/2014/main" id="{2D813BAE-7B67-7065-DD9E-7F9E4E2362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0" name="Graphic 24">
                  <a:extLst>
                    <a:ext uri="{FF2B5EF4-FFF2-40B4-BE49-F238E27FC236}">
                      <a16:creationId xmlns:a16="http://schemas.microsoft.com/office/drawing/2014/main" id="{CFCD0C7E-B1CD-1812-56ED-ABB9A57D6CB3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17">
                <a:extLst>
                  <a:ext uri="{FF2B5EF4-FFF2-40B4-BE49-F238E27FC236}">
                    <a16:creationId xmlns:a16="http://schemas.microsoft.com/office/drawing/2014/main" id="{0D1A8C68-B2F7-1223-579A-D22B30720219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17" name="Graphic 21">
                  <a:extLst>
                    <a:ext uri="{FF2B5EF4-FFF2-40B4-BE49-F238E27FC236}">
                      <a16:creationId xmlns:a16="http://schemas.microsoft.com/office/drawing/2014/main" id="{5D253705-F133-0D3A-39DA-448A493A9B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18" name="Graphic 22">
                  <a:extLst>
                    <a:ext uri="{FF2B5EF4-FFF2-40B4-BE49-F238E27FC236}">
                      <a16:creationId xmlns:a16="http://schemas.microsoft.com/office/drawing/2014/main" id="{1BE083A7-2279-2B72-F100-DD1580BD2EC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 18">
                <a:extLst>
                  <a:ext uri="{FF2B5EF4-FFF2-40B4-BE49-F238E27FC236}">
                    <a16:creationId xmlns:a16="http://schemas.microsoft.com/office/drawing/2014/main" id="{4F6EC6A5-4409-3FEB-571D-5445150E7054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15" name="Graphic 19">
                  <a:extLst>
                    <a:ext uri="{FF2B5EF4-FFF2-40B4-BE49-F238E27FC236}">
                      <a16:creationId xmlns:a16="http://schemas.microsoft.com/office/drawing/2014/main" id="{1BCDB3E7-826B-34F1-DC5C-0B032109FE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16" name="Graphic 20">
                  <a:extLst>
                    <a:ext uri="{FF2B5EF4-FFF2-40B4-BE49-F238E27FC236}">
                      <a16:creationId xmlns:a16="http://schemas.microsoft.com/office/drawing/2014/main" id="{F4833FCC-8E9B-87C2-FCCE-722158F4FDD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680010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ealkiri ja s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/>
              <a:t>Muutke tiitli laadi</a:t>
            </a:r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8763776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lipse 23">
            <a:extLst>
              <a:ext uri="{FF2B5EF4-FFF2-40B4-BE49-F238E27FC236}">
                <a16:creationId xmlns:a16="http://schemas.microsoft.com/office/drawing/2014/main" id="{923A2B64-2718-81D2-C418-2F01BE8109AA}"/>
              </a:ext>
            </a:extLst>
          </p:cNvPr>
          <p:cNvSpPr/>
          <p:nvPr userDrawn="1"/>
        </p:nvSpPr>
        <p:spPr>
          <a:xfrm>
            <a:off x="-198302" y="4468339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Ellipse 24">
            <a:extLst>
              <a:ext uri="{FF2B5EF4-FFF2-40B4-BE49-F238E27FC236}">
                <a16:creationId xmlns:a16="http://schemas.microsoft.com/office/drawing/2014/main" id="{FDF2FDA6-142A-4E7B-153D-997A52FBBE7A}"/>
              </a:ext>
            </a:extLst>
          </p:cNvPr>
          <p:cNvSpPr/>
          <p:nvPr userDrawn="1"/>
        </p:nvSpPr>
        <p:spPr>
          <a:xfrm>
            <a:off x="-198302" y="3971956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5AE772A2-D6FB-3AE9-4DBB-4F12A9657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24" y="3802896"/>
            <a:ext cx="4161600" cy="1231106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lnSpc>
                <a:spcPct val="100000"/>
              </a:lnSpc>
              <a:defRPr sz="40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78F137E-FD6D-B552-882D-3BF52F4E7C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37736" y="0"/>
            <a:ext cx="8854264" cy="5527744"/>
          </a:xfrm>
          <a:custGeom>
            <a:avLst/>
            <a:gdLst>
              <a:gd name="connsiteX0" fmla="*/ 0 w 8854264"/>
              <a:gd name="connsiteY0" fmla="*/ 0 h 5527744"/>
              <a:gd name="connsiteX1" fmla="*/ 8854264 w 8854264"/>
              <a:gd name="connsiteY1" fmla="*/ 0 h 5527744"/>
              <a:gd name="connsiteX2" fmla="*/ 8854264 w 8854264"/>
              <a:gd name="connsiteY2" fmla="*/ 5336602 h 5527744"/>
              <a:gd name="connsiteX3" fmla="*/ 8699512 w 8854264"/>
              <a:gd name="connsiteY3" fmla="*/ 5376391 h 5527744"/>
              <a:gd name="connsiteX4" fmla="*/ 7198125 w 8854264"/>
              <a:gd name="connsiteY4" fmla="*/ 5527744 h 5527744"/>
              <a:gd name="connsiteX5" fmla="*/ 83291 w 8854264"/>
              <a:gd name="connsiteY5" fmla="*/ 293314 h 5527744"/>
              <a:gd name="connsiteX6" fmla="*/ 0 w 8854264"/>
              <a:gd name="connsiteY6" fmla="*/ 3 h 5527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4264" h="5527744">
                <a:moveTo>
                  <a:pt x="0" y="0"/>
                </a:moveTo>
                <a:lnTo>
                  <a:pt x="8854264" y="0"/>
                </a:lnTo>
                <a:lnTo>
                  <a:pt x="8854264" y="5336602"/>
                </a:lnTo>
                <a:lnTo>
                  <a:pt x="8699512" y="5376391"/>
                </a:lnTo>
                <a:cubicBezTo>
                  <a:pt x="8214551" y="5475630"/>
                  <a:pt x="7712423" y="5527744"/>
                  <a:pt x="7198125" y="5527744"/>
                </a:cubicBezTo>
                <a:cubicBezTo>
                  <a:pt x="3855185" y="5527744"/>
                  <a:pt x="1026516" y="3325877"/>
                  <a:pt x="83291" y="293314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 de fond</a:t>
            </a:r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F7D4A33E-C6B0-ADF4-00DB-139CB602B7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7736" y="673610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XX</a:t>
            </a: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08B24042-028D-DEBA-32B0-86ECBBBFE767}"/>
              </a:ext>
            </a:extLst>
          </p:cNvPr>
          <p:cNvSpPr/>
          <p:nvPr userDrawn="1"/>
        </p:nvSpPr>
        <p:spPr>
          <a:xfrm rot="8745704">
            <a:off x="3074404" y="-8786620"/>
            <a:ext cx="14774220" cy="14774220"/>
          </a:xfrm>
          <a:prstGeom prst="arc">
            <a:avLst/>
          </a:prstGeom>
          <a:ln w="44450"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8987DEB-C64B-F16D-8D2E-DA9669811086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1C58E0-D13F-BAC0-C56C-FD3D06BEFB9D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43CEA79-60C8-468F-9A59-2D80578D7165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C4D189C4-1CF9-E1C2-2050-1F935863BE46}"/>
              </a:ext>
            </a:extLst>
          </p:cNvPr>
          <p:cNvGrpSpPr/>
          <p:nvPr userDrawn="1"/>
        </p:nvGrpSpPr>
        <p:grpSpPr>
          <a:xfrm>
            <a:off x="1058531" y="5516336"/>
            <a:ext cx="2467428" cy="1272210"/>
            <a:chOff x="9988529" y="0"/>
            <a:chExt cx="1848137" cy="952903"/>
          </a:xfrm>
        </p:grpSpPr>
        <p:sp>
          <p:nvSpPr>
            <p:cNvPr id="7" name="Rectangle: Top Corners Rounded 7">
              <a:extLst>
                <a:ext uri="{FF2B5EF4-FFF2-40B4-BE49-F238E27FC236}">
                  <a16:creationId xmlns:a16="http://schemas.microsoft.com/office/drawing/2014/main" id="{52C5015D-B997-EAD7-246B-330F1C1B3F97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8" name="Group 13">
              <a:extLst>
                <a:ext uri="{FF2B5EF4-FFF2-40B4-BE49-F238E27FC236}">
                  <a16:creationId xmlns:a16="http://schemas.microsoft.com/office/drawing/2014/main" id="{52ACBA78-1BD3-CA7F-1A09-EB5B207B2D73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9" name="Group 14">
                <a:extLst>
                  <a:ext uri="{FF2B5EF4-FFF2-40B4-BE49-F238E27FC236}">
                    <a16:creationId xmlns:a16="http://schemas.microsoft.com/office/drawing/2014/main" id="{D8FAB10F-FD0B-D357-C23F-E613D417C0FC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7" name="Graphic 27">
                  <a:extLst>
                    <a:ext uri="{FF2B5EF4-FFF2-40B4-BE49-F238E27FC236}">
                      <a16:creationId xmlns:a16="http://schemas.microsoft.com/office/drawing/2014/main" id="{5935E5EA-8000-43E9-A457-8AE2E1FD254A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8" name="Graphic 28">
                  <a:extLst>
                    <a:ext uri="{FF2B5EF4-FFF2-40B4-BE49-F238E27FC236}">
                      <a16:creationId xmlns:a16="http://schemas.microsoft.com/office/drawing/2014/main" id="{71668BBD-9362-BD13-9695-8AA8D4749D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15">
                <a:extLst>
                  <a:ext uri="{FF2B5EF4-FFF2-40B4-BE49-F238E27FC236}">
                    <a16:creationId xmlns:a16="http://schemas.microsoft.com/office/drawing/2014/main" id="{C8E70E0C-E1DA-445D-5AB2-86EBE8ED52D6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5" name="Graphic 25">
                  <a:extLst>
                    <a:ext uri="{FF2B5EF4-FFF2-40B4-BE49-F238E27FC236}">
                      <a16:creationId xmlns:a16="http://schemas.microsoft.com/office/drawing/2014/main" id="{4FF0C26F-F8A1-3EE7-9814-5ADBC4435C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6" name="Graphic 26">
                  <a:extLst>
                    <a:ext uri="{FF2B5EF4-FFF2-40B4-BE49-F238E27FC236}">
                      <a16:creationId xmlns:a16="http://schemas.microsoft.com/office/drawing/2014/main" id="{955B2CC9-8E13-5CEA-60CD-5E0896D6DD4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 16">
                <a:extLst>
                  <a:ext uri="{FF2B5EF4-FFF2-40B4-BE49-F238E27FC236}">
                    <a16:creationId xmlns:a16="http://schemas.microsoft.com/office/drawing/2014/main" id="{8D76109A-8402-1A4D-AE9B-A781F4DE802F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23" name="Graphic 23">
                  <a:extLst>
                    <a:ext uri="{FF2B5EF4-FFF2-40B4-BE49-F238E27FC236}">
                      <a16:creationId xmlns:a16="http://schemas.microsoft.com/office/drawing/2014/main" id="{E93F5423-B303-C11B-CBB5-B10A00B517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4" name="Graphic 24">
                  <a:extLst>
                    <a:ext uri="{FF2B5EF4-FFF2-40B4-BE49-F238E27FC236}">
                      <a16:creationId xmlns:a16="http://schemas.microsoft.com/office/drawing/2014/main" id="{C9251CE6-57DA-8CBB-69AA-83612300E09B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oup 17">
                <a:extLst>
                  <a:ext uri="{FF2B5EF4-FFF2-40B4-BE49-F238E27FC236}">
                    <a16:creationId xmlns:a16="http://schemas.microsoft.com/office/drawing/2014/main" id="{85B8CE53-2627-FC22-0B14-8F6074141C14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21" name="Graphic 21">
                  <a:extLst>
                    <a:ext uri="{FF2B5EF4-FFF2-40B4-BE49-F238E27FC236}">
                      <a16:creationId xmlns:a16="http://schemas.microsoft.com/office/drawing/2014/main" id="{DFCBBF10-63D6-894C-6EAD-83BD85BC0E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22" name="Graphic 22">
                  <a:extLst>
                    <a:ext uri="{FF2B5EF4-FFF2-40B4-BE49-F238E27FC236}">
                      <a16:creationId xmlns:a16="http://schemas.microsoft.com/office/drawing/2014/main" id="{C95B11E0-7BDE-B2F0-AFCB-B6C683670251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3" name="Group 18">
                <a:extLst>
                  <a:ext uri="{FF2B5EF4-FFF2-40B4-BE49-F238E27FC236}">
                    <a16:creationId xmlns:a16="http://schemas.microsoft.com/office/drawing/2014/main" id="{2F77EE14-7B46-6553-18D7-6CE07BC01F7C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19" name="Graphic 19">
                  <a:extLst>
                    <a:ext uri="{FF2B5EF4-FFF2-40B4-BE49-F238E27FC236}">
                      <a16:creationId xmlns:a16="http://schemas.microsoft.com/office/drawing/2014/main" id="{BED9DF1F-B0F2-218F-4959-26BBBC8BD1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20" name="Graphic 20">
                  <a:extLst>
                    <a:ext uri="{FF2B5EF4-FFF2-40B4-BE49-F238E27FC236}">
                      <a16:creationId xmlns:a16="http://schemas.microsoft.com/office/drawing/2014/main" id="{D44A6DB3-077F-ED0F-8305-16EE1CA8E0E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0725458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lipse 23">
            <a:extLst>
              <a:ext uri="{FF2B5EF4-FFF2-40B4-BE49-F238E27FC236}">
                <a16:creationId xmlns:a16="http://schemas.microsoft.com/office/drawing/2014/main" id="{923A2B64-2718-81D2-C418-2F01BE8109AA}"/>
              </a:ext>
            </a:extLst>
          </p:cNvPr>
          <p:cNvSpPr/>
          <p:nvPr userDrawn="1"/>
        </p:nvSpPr>
        <p:spPr>
          <a:xfrm>
            <a:off x="-198302" y="4468339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Ellipse 24">
            <a:extLst>
              <a:ext uri="{FF2B5EF4-FFF2-40B4-BE49-F238E27FC236}">
                <a16:creationId xmlns:a16="http://schemas.microsoft.com/office/drawing/2014/main" id="{FDF2FDA6-142A-4E7B-153D-997A52FBBE7A}"/>
              </a:ext>
            </a:extLst>
          </p:cNvPr>
          <p:cNvSpPr/>
          <p:nvPr userDrawn="1"/>
        </p:nvSpPr>
        <p:spPr>
          <a:xfrm>
            <a:off x="-198302" y="3971956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5AE772A2-D6FB-3AE9-4DBB-4F12A9657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24" y="3802896"/>
            <a:ext cx="4161600" cy="1231106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lnSpc>
                <a:spcPct val="100000"/>
              </a:lnSpc>
              <a:defRPr sz="40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62B632A-370B-9C6B-650A-604EEEBBBE6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37736" y="0"/>
            <a:ext cx="8854264" cy="5527744"/>
          </a:xfrm>
          <a:custGeom>
            <a:avLst/>
            <a:gdLst>
              <a:gd name="connsiteX0" fmla="*/ 0 w 8854264"/>
              <a:gd name="connsiteY0" fmla="*/ 0 h 5527744"/>
              <a:gd name="connsiteX1" fmla="*/ 8854264 w 8854264"/>
              <a:gd name="connsiteY1" fmla="*/ 0 h 5527744"/>
              <a:gd name="connsiteX2" fmla="*/ 8854264 w 8854264"/>
              <a:gd name="connsiteY2" fmla="*/ 5336602 h 5527744"/>
              <a:gd name="connsiteX3" fmla="*/ 8699512 w 8854264"/>
              <a:gd name="connsiteY3" fmla="*/ 5376391 h 5527744"/>
              <a:gd name="connsiteX4" fmla="*/ 7198125 w 8854264"/>
              <a:gd name="connsiteY4" fmla="*/ 5527744 h 5527744"/>
              <a:gd name="connsiteX5" fmla="*/ 83291 w 8854264"/>
              <a:gd name="connsiteY5" fmla="*/ 293314 h 5527744"/>
              <a:gd name="connsiteX6" fmla="*/ 0 w 8854264"/>
              <a:gd name="connsiteY6" fmla="*/ 3 h 5527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4264" h="5527744">
                <a:moveTo>
                  <a:pt x="0" y="0"/>
                </a:moveTo>
                <a:lnTo>
                  <a:pt x="8854264" y="0"/>
                </a:lnTo>
                <a:lnTo>
                  <a:pt x="8854264" y="5336602"/>
                </a:lnTo>
                <a:lnTo>
                  <a:pt x="8699512" y="5376391"/>
                </a:lnTo>
                <a:cubicBezTo>
                  <a:pt x="8214551" y="5475630"/>
                  <a:pt x="7712423" y="5527744"/>
                  <a:pt x="7198125" y="5527744"/>
                </a:cubicBezTo>
                <a:cubicBezTo>
                  <a:pt x="3855185" y="5527744"/>
                  <a:pt x="1026516" y="3325877"/>
                  <a:pt x="83291" y="293314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 de fond</a:t>
            </a:r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3B82CC0A-D125-491B-7C6D-F9650DFA2E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7736" y="673610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FC19F0AE-1E8C-6C32-1E7A-98455221E236}"/>
              </a:ext>
            </a:extLst>
          </p:cNvPr>
          <p:cNvSpPr/>
          <p:nvPr userDrawn="1"/>
        </p:nvSpPr>
        <p:spPr>
          <a:xfrm rot="8745704">
            <a:off x="3053514" y="-8822478"/>
            <a:ext cx="14774220" cy="14774220"/>
          </a:xfrm>
          <a:prstGeom prst="arc">
            <a:avLst/>
          </a:prstGeom>
          <a:ln w="44450"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CAAA1E2-22E2-DA38-0672-805AAB4B5B45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9C9AAF-62BA-FC0E-D4FB-1A712B3F6F4C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6B43207-D38B-CF80-470E-85CE3D13B97D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A6605735-3B99-438A-446D-8198D0F613E3}"/>
              </a:ext>
            </a:extLst>
          </p:cNvPr>
          <p:cNvGrpSpPr/>
          <p:nvPr userDrawn="1"/>
        </p:nvGrpSpPr>
        <p:grpSpPr>
          <a:xfrm>
            <a:off x="1058531" y="5516336"/>
            <a:ext cx="2467428" cy="1272210"/>
            <a:chOff x="9988529" y="0"/>
            <a:chExt cx="1848137" cy="952903"/>
          </a:xfrm>
        </p:grpSpPr>
        <p:sp>
          <p:nvSpPr>
            <p:cNvPr id="7" name="Rectangle: Top Corners Rounded 7">
              <a:extLst>
                <a:ext uri="{FF2B5EF4-FFF2-40B4-BE49-F238E27FC236}">
                  <a16:creationId xmlns:a16="http://schemas.microsoft.com/office/drawing/2014/main" id="{ACECC85C-945F-84E6-9963-821F9DE8841B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8" name="Group 13">
              <a:extLst>
                <a:ext uri="{FF2B5EF4-FFF2-40B4-BE49-F238E27FC236}">
                  <a16:creationId xmlns:a16="http://schemas.microsoft.com/office/drawing/2014/main" id="{9AF1FDAA-A44E-4F55-FEC9-61D31DC776CF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9" name="Group 14">
                <a:extLst>
                  <a:ext uri="{FF2B5EF4-FFF2-40B4-BE49-F238E27FC236}">
                    <a16:creationId xmlns:a16="http://schemas.microsoft.com/office/drawing/2014/main" id="{FC687038-AF88-74DA-C57A-F4470A6BF9A5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8" name="Graphic 27">
                  <a:extLst>
                    <a:ext uri="{FF2B5EF4-FFF2-40B4-BE49-F238E27FC236}">
                      <a16:creationId xmlns:a16="http://schemas.microsoft.com/office/drawing/2014/main" id="{D1C3D455-A821-A90F-A4BA-15285209BC0A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9" name="Graphic 28">
                  <a:extLst>
                    <a:ext uri="{FF2B5EF4-FFF2-40B4-BE49-F238E27FC236}">
                      <a16:creationId xmlns:a16="http://schemas.microsoft.com/office/drawing/2014/main" id="{FFD43BA2-62F6-CAEE-0F0C-9D09A250C9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15">
                <a:extLst>
                  <a:ext uri="{FF2B5EF4-FFF2-40B4-BE49-F238E27FC236}">
                    <a16:creationId xmlns:a16="http://schemas.microsoft.com/office/drawing/2014/main" id="{54C97727-E219-A155-6B25-04837E31993D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A74CB81F-247D-27B8-F741-041207378C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B948284A-9F89-EE28-2A05-52CCA31FBD7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oup 16">
                <a:extLst>
                  <a:ext uri="{FF2B5EF4-FFF2-40B4-BE49-F238E27FC236}">
                    <a16:creationId xmlns:a16="http://schemas.microsoft.com/office/drawing/2014/main" id="{FDAB8123-75EB-A3D6-7C4C-22209AFE5BCF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FA38FB43-C8F2-CA91-625E-47D9973C94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D7B16AAE-E834-2FE1-8153-DE05E08D824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5" name="Group 17">
                <a:extLst>
                  <a:ext uri="{FF2B5EF4-FFF2-40B4-BE49-F238E27FC236}">
                    <a16:creationId xmlns:a16="http://schemas.microsoft.com/office/drawing/2014/main" id="{96054360-6E26-E45F-A6B1-E4B415D7E56B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22" name="Graphic 21">
                  <a:extLst>
                    <a:ext uri="{FF2B5EF4-FFF2-40B4-BE49-F238E27FC236}">
                      <a16:creationId xmlns:a16="http://schemas.microsoft.com/office/drawing/2014/main" id="{8240BAF9-B896-7FEC-0DF2-63B36C2EA9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23" name="Graphic 22">
                  <a:extLst>
                    <a:ext uri="{FF2B5EF4-FFF2-40B4-BE49-F238E27FC236}">
                      <a16:creationId xmlns:a16="http://schemas.microsoft.com/office/drawing/2014/main" id="{DC340B8F-8191-3271-8C90-06987F96D7A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B06B73D-6B44-AC95-D74F-319312E32C4B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EA4C0BF0-8795-3FE8-3B6D-E27E145AB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21" name="Graphic 20">
                  <a:extLst>
                    <a:ext uri="{FF2B5EF4-FFF2-40B4-BE49-F238E27FC236}">
                      <a16:creationId xmlns:a16="http://schemas.microsoft.com/office/drawing/2014/main" id="{755CD30D-CD37-7BDD-95E0-69C288887D66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709242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lipse 23">
            <a:extLst>
              <a:ext uri="{FF2B5EF4-FFF2-40B4-BE49-F238E27FC236}">
                <a16:creationId xmlns:a16="http://schemas.microsoft.com/office/drawing/2014/main" id="{923A2B64-2718-81D2-C418-2F01BE8109AA}"/>
              </a:ext>
            </a:extLst>
          </p:cNvPr>
          <p:cNvSpPr/>
          <p:nvPr userDrawn="1"/>
        </p:nvSpPr>
        <p:spPr>
          <a:xfrm>
            <a:off x="-198302" y="4468339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Ellipse 24">
            <a:extLst>
              <a:ext uri="{FF2B5EF4-FFF2-40B4-BE49-F238E27FC236}">
                <a16:creationId xmlns:a16="http://schemas.microsoft.com/office/drawing/2014/main" id="{FDF2FDA6-142A-4E7B-153D-997A52FBBE7A}"/>
              </a:ext>
            </a:extLst>
          </p:cNvPr>
          <p:cNvSpPr/>
          <p:nvPr userDrawn="1"/>
        </p:nvSpPr>
        <p:spPr>
          <a:xfrm>
            <a:off x="-198302" y="3971956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5AE772A2-D6FB-3AE9-4DBB-4F12A9657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24" y="3802896"/>
            <a:ext cx="4161600" cy="1231106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lnSpc>
                <a:spcPct val="100000"/>
              </a:lnSpc>
              <a:defRPr sz="40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AAB0FA0-5A92-798E-14D7-BC8D7657A7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37736" y="0"/>
            <a:ext cx="8854264" cy="5527744"/>
          </a:xfrm>
          <a:custGeom>
            <a:avLst/>
            <a:gdLst>
              <a:gd name="connsiteX0" fmla="*/ 0 w 8854264"/>
              <a:gd name="connsiteY0" fmla="*/ 0 h 5527744"/>
              <a:gd name="connsiteX1" fmla="*/ 8854264 w 8854264"/>
              <a:gd name="connsiteY1" fmla="*/ 0 h 5527744"/>
              <a:gd name="connsiteX2" fmla="*/ 8854264 w 8854264"/>
              <a:gd name="connsiteY2" fmla="*/ 5336602 h 5527744"/>
              <a:gd name="connsiteX3" fmla="*/ 8699512 w 8854264"/>
              <a:gd name="connsiteY3" fmla="*/ 5376391 h 5527744"/>
              <a:gd name="connsiteX4" fmla="*/ 7198125 w 8854264"/>
              <a:gd name="connsiteY4" fmla="*/ 5527744 h 5527744"/>
              <a:gd name="connsiteX5" fmla="*/ 83291 w 8854264"/>
              <a:gd name="connsiteY5" fmla="*/ 293314 h 5527744"/>
              <a:gd name="connsiteX6" fmla="*/ 0 w 8854264"/>
              <a:gd name="connsiteY6" fmla="*/ 3 h 5527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4264" h="5527744">
                <a:moveTo>
                  <a:pt x="0" y="0"/>
                </a:moveTo>
                <a:lnTo>
                  <a:pt x="8854264" y="0"/>
                </a:lnTo>
                <a:lnTo>
                  <a:pt x="8854264" y="5336602"/>
                </a:lnTo>
                <a:lnTo>
                  <a:pt x="8699512" y="5376391"/>
                </a:lnTo>
                <a:cubicBezTo>
                  <a:pt x="8214551" y="5475630"/>
                  <a:pt x="7712423" y="5527744"/>
                  <a:pt x="7198125" y="5527744"/>
                </a:cubicBezTo>
                <a:cubicBezTo>
                  <a:pt x="3855185" y="5527744"/>
                  <a:pt x="1026516" y="3325877"/>
                  <a:pt x="83291" y="293314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 de fond</a:t>
            </a:r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CF6BBB4F-C57B-5478-20D4-27481BB5A4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7736" y="673610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873AC441-1588-FBD1-294D-5ADC8BAFB3BB}"/>
              </a:ext>
            </a:extLst>
          </p:cNvPr>
          <p:cNvSpPr/>
          <p:nvPr userDrawn="1"/>
        </p:nvSpPr>
        <p:spPr>
          <a:xfrm rot="8745704">
            <a:off x="3053514" y="-8822478"/>
            <a:ext cx="14774220" cy="14774220"/>
          </a:xfrm>
          <a:prstGeom prst="arc">
            <a:avLst/>
          </a:prstGeom>
          <a:ln w="44450"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AF2EB23-322A-D509-64D2-1B4CAE206AFA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AF43C-56E4-35E8-92F0-8E4650AD9946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8362DE0-9F68-7B56-AF91-59DEB269C1F7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80E2511-E226-A7BC-D41C-8564F4BDDECE}"/>
              </a:ext>
            </a:extLst>
          </p:cNvPr>
          <p:cNvGrpSpPr/>
          <p:nvPr userDrawn="1"/>
        </p:nvGrpSpPr>
        <p:grpSpPr>
          <a:xfrm>
            <a:off x="1058531" y="5516336"/>
            <a:ext cx="2467428" cy="1272210"/>
            <a:chOff x="9988529" y="0"/>
            <a:chExt cx="1848137" cy="952903"/>
          </a:xfrm>
        </p:grpSpPr>
        <p:sp>
          <p:nvSpPr>
            <p:cNvPr id="7" name="Rectangle: Top Corners Rounded 7">
              <a:extLst>
                <a:ext uri="{FF2B5EF4-FFF2-40B4-BE49-F238E27FC236}">
                  <a16:creationId xmlns:a16="http://schemas.microsoft.com/office/drawing/2014/main" id="{9C071886-04E5-0B82-3DB3-E1F466C7F33D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8" name="Group 13">
              <a:extLst>
                <a:ext uri="{FF2B5EF4-FFF2-40B4-BE49-F238E27FC236}">
                  <a16:creationId xmlns:a16="http://schemas.microsoft.com/office/drawing/2014/main" id="{4AED8453-1E36-72B0-7718-5FEFA4F0EA0D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9" name="Group 14">
                <a:extLst>
                  <a:ext uri="{FF2B5EF4-FFF2-40B4-BE49-F238E27FC236}">
                    <a16:creationId xmlns:a16="http://schemas.microsoft.com/office/drawing/2014/main" id="{7336B4F9-BD0F-4FFF-381D-BC1B8F6B66C7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8" name="Graphic 27">
                  <a:extLst>
                    <a:ext uri="{FF2B5EF4-FFF2-40B4-BE49-F238E27FC236}">
                      <a16:creationId xmlns:a16="http://schemas.microsoft.com/office/drawing/2014/main" id="{CC327328-AA84-53C4-BFA7-5B24A074EAB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9" name="Graphic 28">
                  <a:extLst>
                    <a:ext uri="{FF2B5EF4-FFF2-40B4-BE49-F238E27FC236}">
                      <a16:creationId xmlns:a16="http://schemas.microsoft.com/office/drawing/2014/main" id="{47CCB44B-5AF4-C55A-E0C6-9786C8F140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15">
                <a:extLst>
                  <a:ext uri="{FF2B5EF4-FFF2-40B4-BE49-F238E27FC236}">
                    <a16:creationId xmlns:a16="http://schemas.microsoft.com/office/drawing/2014/main" id="{71160978-D9E7-A715-8EE1-0C5906EBE586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1C2FD0DF-6A13-B27E-E624-0AB9D1D565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1598B8BD-869B-BCD3-3DF0-6970D5A8DBE5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 16">
                <a:extLst>
                  <a:ext uri="{FF2B5EF4-FFF2-40B4-BE49-F238E27FC236}">
                    <a16:creationId xmlns:a16="http://schemas.microsoft.com/office/drawing/2014/main" id="{BA3FE893-DBDC-FD80-BF1C-30EF3C0ABB67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6613FBC1-D46C-B3C2-FB4E-5EA0E6227B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EC5C110F-5C54-6B5F-4B65-0EFF5BE2F6E1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5" name="Group 17">
                <a:extLst>
                  <a:ext uri="{FF2B5EF4-FFF2-40B4-BE49-F238E27FC236}">
                    <a16:creationId xmlns:a16="http://schemas.microsoft.com/office/drawing/2014/main" id="{C0D84856-D08A-5F6F-D3EA-4AE7C32CA7FB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22" name="Graphic 21">
                  <a:extLst>
                    <a:ext uri="{FF2B5EF4-FFF2-40B4-BE49-F238E27FC236}">
                      <a16:creationId xmlns:a16="http://schemas.microsoft.com/office/drawing/2014/main" id="{090983F4-5F38-B598-FE01-4778689AFC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23" name="Graphic 22">
                  <a:extLst>
                    <a:ext uri="{FF2B5EF4-FFF2-40B4-BE49-F238E27FC236}">
                      <a16:creationId xmlns:a16="http://schemas.microsoft.com/office/drawing/2014/main" id="{DED902D4-FBBD-039E-5551-9289C19DD582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9125FD6-849C-946D-98BE-D55E56D9D0B2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2F11956F-17BE-8381-FDB8-60C8DFDC0F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21" name="Graphic 20">
                  <a:extLst>
                    <a:ext uri="{FF2B5EF4-FFF2-40B4-BE49-F238E27FC236}">
                      <a16:creationId xmlns:a16="http://schemas.microsoft.com/office/drawing/2014/main" id="{ECEBE4E4-615C-D495-A942-5EE9FD8757CC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6869944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lipse 23">
            <a:extLst>
              <a:ext uri="{FF2B5EF4-FFF2-40B4-BE49-F238E27FC236}">
                <a16:creationId xmlns:a16="http://schemas.microsoft.com/office/drawing/2014/main" id="{923A2B64-2718-81D2-C418-2F01BE8109AA}"/>
              </a:ext>
            </a:extLst>
          </p:cNvPr>
          <p:cNvSpPr/>
          <p:nvPr userDrawn="1"/>
        </p:nvSpPr>
        <p:spPr>
          <a:xfrm>
            <a:off x="-198302" y="4468339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Ellipse 24">
            <a:extLst>
              <a:ext uri="{FF2B5EF4-FFF2-40B4-BE49-F238E27FC236}">
                <a16:creationId xmlns:a16="http://schemas.microsoft.com/office/drawing/2014/main" id="{FDF2FDA6-142A-4E7B-153D-997A52FBBE7A}"/>
              </a:ext>
            </a:extLst>
          </p:cNvPr>
          <p:cNvSpPr/>
          <p:nvPr userDrawn="1"/>
        </p:nvSpPr>
        <p:spPr>
          <a:xfrm>
            <a:off x="-198302" y="3971956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5AE772A2-D6FB-3AE9-4DBB-4F12A9657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24" y="3802896"/>
            <a:ext cx="4161600" cy="1231106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lnSpc>
                <a:spcPct val="100000"/>
              </a:lnSpc>
              <a:defRPr sz="40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NOM </a:t>
            </a:r>
            <a:br>
              <a:rPr lang="fr-FR"/>
            </a:br>
            <a:r>
              <a:rPr lang="fr-FR"/>
              <a:t>DE LA SECTION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5A46110-5E08-9668-8862-C4E76EAD0D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37736" y="0"/>
            <a:ext cx="8854264" cy="5527744"/>
          </a:xfrm>
          <a:custGeom>
            <a:avLst/>
            <a:gdLst>
              <a:gd name="connsiteX0" fmla="*/ 0 w 8854264"/>
              <a:gd name="connsiteY0" fmla="*/ 0 h 5527744"/>
              <a:gd name="connsiteX1" fmla="*/ 8854264 w 8854264"/>
              <a:gd name="connsiteY1" fmla="*/ 0 h 5527744"/>
              <a:gd name="connsiteX2" fmla="*/ 8854264 w 8854264"/>
              <a:gd name="connsiteY2" fmla="*/ 5336602 h 5527744"/>
              <a:gd name="connsiteX3" fmla="*/ 8699512 w 8854264"/>
              <a:gd name="connsiteY3" fmla="*/ 5376391 h 5527744"/>
              <a:gd name="connsiteX4" fmla="*/ 7198125 w 8854264"/>
              <a:gd name="connsiteY4" fmla="*/ 5527744 h 5527744"/>
              <a:gd name="connsiteX5" fmla="*/ 83291 w 8854264"/>
              <a:gd name="connsiteY5" fmla="*/ 293314 h 5527744"/>
              <a:gd name="connsiteX6" fmla="*/ 0 w 8854264"/>
              <a:gd name="connsiteY6" fmla="*/ 3 h 5527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4264" h="5527744">
                <a:moveTo>
                  <a:pt x="0" y="0"/>
                </a:moveTo>
                <a:lnTo>
                  <a:pt x="8854264" y="0"/>
                </a:lnTo>
                <a:lnTo>
                  <a:pt x="8854264" y="5336602"/>
                </a:lnTo>
                <a:lnTo>
                  <a:pt x="8699512" y="5376391"/>
                </a:lnTo>
                <a:cubicBezTo>
                  <a:pt x="8214551" y="5475630"/>
                  <a:pt x="7712423" y="5527744"/>
                  <a:pt x="7198125" y="5527744"/>
                </a:cubicBezTo>
                <a:cubicBezTo>
                  <a:pt x="3855185" y="5527744"/>
                  <a:pt x="1026516" y="3325877"/>
                  <a:pt x="83291" y="293314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 de fond</a:t>
            </a:r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B7027137-6FAE-3F11-3F79-6449F2B511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7736" y="673610"/>
            <a:ext cx="1728000" cy="1728000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2684704F-9F4F-282B-45D5-1D02B61413A5}"/>
              </a:ext>
            </a:extLst>
          </p:cNvPr>
          <p:cNvSpPr/>
          <p:nvPr userDrawn="1"/>
        </p:nvSpPr>
        <p:spPr>
          <a:xfrm rot="8745704">
            <a:off x="3053514" y="-8822478"/>
            <a:ext cx="14774220" cy="14774220"/>
          </a:xfrm>
          <a:prstGeom prst="arc">
            <a:avLst/>
          </a:prstGeom>
          <a:ln w="44450"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CD4C671-CA88-18DB-BE70-3ADCF611AF9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0249A0-D593-E487-CFBD-4EACB69F3165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5E6C4B9-EEF0-4F1E-37FD-243B441DF93C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761B0496-45B1-A853-BCFF-F1071ACDD2FF}"/>
              </a:ext>
            </a:extLst>
          </p:cNvPr>
          <p:cNvGrpSpPr/>
          <p:nvPr userDrawn="1"/>
        </p:nvGrpSpPr>
        <p:grpSpPr>
          <a:xfrm>
            <a:off x="1058531" y="5516336"/>
            <a:ext cx="2467428" cy="1272210"/>
            <a:chOff x="9988529" y="0"/>
            <a:chExt cx="1848137" cy="952903"/>
          </a:xfrm>
        </p:grpSpPr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3E194A59-0809-5EC3-E473-AEC29C79E58F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9" name="Group 13">
              <a:extLst>
                <a:ext uri="{FF2B5EF4-FFF2-40B4-BE49-F238E27FC236}">
                  <a16:creationId xmlns:a16="http://schemas.microsoft.com/office/drawing/2014/main" id="{4E9DB9ED-BF77-4D9B-75F0-8C71C27C0C52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10" name="Group 14">
                <a:extLst>
                  <a:ext uri="{FF2B5EF4-FFF2-40B4-BE49-F238E27FC236}">
                    <a16:creationId xmlns:a16="http://schemas.microsoft.com/office/drawing/2014/main" id="{94FBDFD2-5EEA-D820-8D8E-74D84276FACF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8" name="Graphic 27">
                  <a:extLst>
                    <a:ext uri="{FF2B5EF4-FFF2-40B4-BE49-F238E27FC236}">
                      <a16:creationId xmlns:a16="http://schemas.microsoft.com/office/drawing/2014/main" id="{FF2816E2-71FC-C9C0-177D-D57760C053C3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9" name="Graphic 28">
                  <a:extLst>
                    <a:ext uri="{FF2B5EF4-FFF2-40B4-BE49-F238E27FC236}">
                      <a16:creationId xmlns:a16="http://schemas.microsoft.com/office/drawing/2014/main" id="{3E44598D-A4F8-59D6-629D-9C89C77BE4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 15">
                <a:extLst>
                  <a:ext uri="{FF2B5EF4-FFF2-40B4-BE49-F238E27FC236}">
                    <a16:creationId xmlns:a16="http://schemas.microsoft.com/office/drawing/2014/main" id="{F846DA29-BE38-1922-83AE-EE2A9AB7B13B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903BD21D-BE44-1983-066F-DF817D0B61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11C6C3C2-A673-1539-CB2A-50713142547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oup 16">
                <a:extLst>
                  <a:ext uri="{FF2B5EF4-FFF2-40B4-BE49-F238E27FC236}">
                    <a16:creationId xmlns:a16="http://schemas.microsoft.com/office/drawing/2014/main" id="{655E1ACF-F3CD-1B61-1095-A38B8984346C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F85B6EA3-5091-0809-E162-A703EFF93C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9E48A92A-331B-AD03-5ADF-DC469A37AE7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5" name="Group 17">
                <a:extLst>
                  <a:ext uri="{FF2B5EF4-FFF2-40B4-BE49-F238E27FC236}">
                    <a16:creationId xmlns:a16="http://schemas.microsoft.com/office/drawing/2014/main" id="{88CB1837-A891-5832-9546-4CAFF15CFBED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22" name="Graphic 21">
                  <a:extLst>
                    <a:ext uri="{FF2B5EF4-FFF2-40B4-BE49-F238E27FC236}">
                      <a16:creationId xmlns:a16="http://schemas.microsoft.com/office/drawing/2014/main" id="{969E665A-67F4-3197-3571-85C2A950FD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23" name="Graphic 22">
                  <a:extLst>
                    <a:ext uri="{FF2B5EF4-FFF2-40B4-BE49-F238E27FC236}">
                      <a16:creationId xmlns:a16="http://schemas.microsoft.com/office/drawing/2014/main" id="{6E661F1B-457D-44DB-AC43-932A34BA056D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F9DAD218-095F-91F5-826C-D5F19D66C923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B793A70A-99B1-294E-4DD7-2BFE421971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21" name="Graphic 20">
                  <a:extLst>
                    <a:ext uri="{FF2B5EF4-FFF2-40B4-BE49-F238E27FC236}">
                      <a16:creationId xmlns:a16="http://schemas.microsoft.com/office/drawing/2014/main" id="{9024A4B3-0A02-3627-F9DB-7A870AD30A4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210118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D811E-55A3-2641-AEFC-8B0E2D3E25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2FBCF9-2DF5-9D46-6197-5119F6FB9C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DIN Pro" panose="020B05040202010101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7F1FA3-69F5-3430-3C96-3E784455B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278DD1-F449-6525-DF51-DB9C814B7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F44F2C-D756-4254-0E9F-213913AC5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D9FA0-2D89-47C9-A155-5CEE2B42BF4A}" type="slidenum">
              <a:rPr lang="fr-FR" smtClean="0"/>
              <a:t>‹#›</a:t>
            </a:fld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A70DB03-E4FF-B07A-D813-8D4045BFE1CE}"/>
              </a:ext>
            </a:extLst>
          </p:cNvPr>
          <p:cNvSpPr txBox="1"/>
          <p:nvPr userDrawn="1"/>
        </p:nvSpPr>
        <p:spPr>
          <a:xfrm>
            <a:off x="1567543" y="201881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/>
            <a:endParaRPr lang="fr-FR" sz="13300" dirty="0">
              <a:solidFill>
                <a:schemeClr val="bg1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DBE46CB-779F-7E16-E1EF-1F2CC7624135}"/>
              </a:ext>
            </a:extLst>
          </p:cNvPr>
          <p:cNvSpPr txBox="1"/>
          <p:nvPr userDrawn="1"/>
        </p:nvSpPr>
        <p:spPr>
          <a:xfrm>
            <a:off x="950026" y="237506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/>
            <a:endParaRPr lang="fr-FR" sz="13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598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D0C1CBE5-6592-B524-42BF-A84D6B91BD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334" t="16541" r="34151" b="29080"/>
          <a:stretch/>
        </p:blipFill>
        <p:spPr>
          <a:xfrm>
            <a:off x="6850534" y="1"/>
            <a:ext cx="5341466" cy="6213097"/>
          </a:xfrm>
          <a:custGeom>
            <a:avLst/>
            <a:gdLst>
              <a:gd name="connsiteX0" fmla="*/ 676220 w 5341466"/>
              <a:gd name="connsiteY0" fmla="*/ 0 h 6213097"/>
              <a:gd name="connsiteX1" fmla="*/ 5341466 w 5341466"/>
              <a:gd name="connsiteY1" fmla="*/ 0 h 6213097"/>
              <a:gd name="connsiteX2" fmla="*/ 5341466 w 5341466"/>
              <a:gd name="connsiteY2" fmla="*/ 5978040 h 6213097"/>
              <a:gd name="connsiteX3" fmla="*/ 5177013 w 5341466"/>
              <a:gd name="connsiteY3" fmla="*/ 6033688 h 6213097"/>
              <a:gd name="connsiteX4" fmla="*/ 3990392 w 5341466"/>
              <a:gd name="connsiteY4" fmla="*/ 6213097 h 6213097"/>
              <a:gd name="connsiteX5" fmla="*/ 0 w 5341466"/>
              <a:gd name="connsiteY5" fmla="*/ 2222497 h 6213097"/>
              <a:gd name="connsiteX6" fmla="*/ 481619 w 5341466"/>
              <a:gd name="connsiteY6" fmla="*/ 320340 h 621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1466" h="6213097">
                <a:moveTo>
                  <a:pt x="676220" y="0"/>
                </a:moveTo>
                <a:lnTo>
                  <a:pt x="5341466" y="0"/>
                </a:lnTo>
                <a:lnTo>
                  <a:pt x="5341466" y="5978040"/>
                </a:lnTo>
                <a:lnTo>
                  <a:pt x="5177013" y="6033688"/>
                </a:lnTo>
                <a:cubicBezTo>
                  <a:pt x="4802160" y="6150285"/>
                  <a:pt x="4403611" y="6213097"/>
                  <a:pt x="3990392" y="6213097"/>
                </a:cubicBezTo>
                <a:cubicBezTo>
                  <a:pt x="1786559" y="6213097"/>
                  <a:pt x="0" y="4426445"/>
                  <a:pt x="0" y="2222497"/>
                </a:cubicBezTo>
                <a:cubicBezTo>
                  <a:pt x="0" y="1533763"/>
                  <a:pt x="174469" y="885781"/>
                  <a:pt x="481619" y="320340"/>
                </a:cubicBezTo>
                <a:close/>
              </a:path>
            </a:pathLst>
          </a:custGeom>
        </p:spPr>
      </p:pic>
      <p:sp>
        <p:nvSpPr>
          <p:cNvPr id="26" name="Arc 25">
            <a:extLst>
              <a:ext uri="{FF2B5EF4-FFF2-40B4-BE49-F238E27FC236}">
                <a16:creationId xmlns:a16="http://schemas.microsoft.com/office/drawing/2014/main" id="{D6EAA553-59D4-2EEC-F434-66B1BBEE19EE}"/>
              </a:ext>
            </a:extLst>
          </p:cNvPr>
          <p:cNvSpPr/>
          <p:nvPr userDrawn="1"/>
        </p:nvSpPr>
        <p:spPr>
          <a:xfrm rot="398058">
            <a:off x="6496544" y="-324839"/>
            <a:ext cx="2200428" cy="4548082"/>
          </a:xfrm>
          <a:prstGeom prst="arc">
            <a:avLst>
              <a:gd name="adj1" fmla="val 6354686"/>
              <a:gd name="adj2" fmla="val 15503280"/>
            </a:avLst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23">
            <a:extLst>
              <a:ext uri="{FF2B5EF4-FFF2-40B4-BE49-F238E27FC236}">
                <a16:creationId xmlns:a16="http://schemas.microsoft.com/office/drawing/2014/main" id="{597D6328-C952-7EAF-3357-E41FD561D3A8}"/>
              </a:ext>
            </a:extLst>
          </p:cNvPr>
          <p:cNvSpPr/>
          <p:nvPr userDrawn="1"/>
        </p:nvSpPr>
        <p:spPr>
          <a:xfrm>
            <a:off x="-164763" y="724740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B3D54B01-8EFF-A729-1804-C2C2BC6114C4}"/>
              </a:ext>
            </a:extLst>
          </p:cNvPr>
          <p:cNvSpPr/>
          <p:nvPr userDrawn="1"/>
        </p:nvSpPr>
        <p:spPr>
          <a:xfrm>
            <a:off x="-164763" y="228357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DC5697C-FE28-90D5-D402-F5CE5327AA22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55FC74-7499-93CE-C193-5280DEB8C31E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6ED9FA1-E26F-4148-447D-E85D6A741FCE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36" name="Title 19">
            <a:extLst>
              <a:ext uri="{FF2B5EF4-FFF2-40B4-BE49-F238E27FC236}">
                <a16:creationId xmlns:a16="http://schemas.microsoft.com/office/drawing/2014/main" id="{79F13D37-6953-1AEE-3678-9D5742BD5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219425"/>
            <a:ext cx="5548452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</a:t>
            </a:r>
            <a:br>
              <a:rPr lang="fr-FR"/>
            </a:br>
            <a:r>
              <a:rPr lang="fr-FR"/>
              <a:t>DIAPOSITIVE SUR 2 LIGN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804D368D-9AA7-85FE-BEC9-2B8F8A4EB6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736" y="964076"/>
            <a:ext cx="5548452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9FDF15BF-54EF-EBCB-4D3E-C0BBD4BB5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5" y="1485843"/>
            <a:ext cx="2370812" cy="3846178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 b="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54D3982D-7324-A4C8-1B89-BCB84C65A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3642" y="1466915"/>
            <a:ext cx="2587545" cy="3855642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13BF0EA-16C3-AB8E-A250-777ECA9C8885}"/>
              </a:ext>
            </a:extLst>
          </p:cNvPr>
          <p:cNvSpPr txBox="1"/>
          <p:nvPr userDrawn="1"/>
        </p:nvSpPr>
        <p:spPr>
          <a:xfrm>
            <a:off x="-3610099" y="5106390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 rtl="0"/>
            <a:endParaRPr lang="fr-FR" sz="133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6557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D0C1CBE5-6592-B524-42BF-A84D6B91BD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334" t="16541" r="34151" b="29080"/>
          <a:stretch/>
        </p:blipFill>
        <p:spPr>
          <a:xfrm>
            <a:off x="6850534" y="1"/>
            <a:ext cx="5341466" cy="6213097"/>
          </a:xfrm>
          <a:custGeom>
            <a:avLst/>
            <a:gdLst>
              <a:gd name="connsiteX0" fmla="*/ 676220 w 5341466"/>
              <a:gd name="connsiteY0" fmla="*/ 0 h 6213097"/>
              <a:gd name="connsiteX1" fmla="*/ 5341466 w 5341466"/>
              <a:gd name="connsiteY1" fmla="*/ 0 h 6213097"/>
              <a:gd name="connsiteX2" fmla="*/ 5341466 w 5341466"/>
              <a:gd name="connsiteY2" fmla="*/ 5978040 h 6213097"/>
              <a:gd name="connsiteX3" fmla="*/ 5177013 w 5341466"/>
              <a:gd name="connsiteY3" fmla="*/ 6033688 h 6213097"/>
              <a:gd name="connsiteX4" fmla="*/ 3990392 w 5341466"/>
              <a:gd name="connsiteY4" fmla="*/ 6213097 h 6213097"/>
              <a:gd name="connsiteX5" fmla="*/ 0 w 5341466"/>
              <a:gd name="connsiteY5" fmla="*/ 2222497 h 6213097"/>
              <a:gd name="connsiteX6" fmla="*/ 481619 w 5341466"/>
              <a:gd name="connsiteY6" fmla="*/ 320340 h 621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1466" h="6213097">
                <a:moveTo>
                  <a:pt x="676220" y="0"/>
                </a:moveTo>
                <a:lnTo>
                  <a:pt x="5341466" y="0"/>
                </a:lnTo>
                <a:lnTo>
                  <a:pt x="5341466" y="5978040"/>
                </a:lnTo>
                <a:lnTo>
                  <a:pt x="5177013" y="6033688"/>
                </a:lnTo>
                <a:cubicBezTo>
                  <a:pt x="4802160" y="6150285"/>
                  <a:pt x="4403611" y="6213097"/>
                  <a:pt x="3990392" y="6213097"/>
                </a:cubicBezTo>
                <a:cubicBezTo>
                  <a:pt x="1786559" y="6213097"/>
                  <a:pt x="0" y="4426445"/>
                  <a:pt x="0" y="2222497"/>
                </a:cubicBezTo>
                <a:cubicBezTo>
                  <a:pt x="0" y="1533763"/>
                  <a:pt x="174469" y="885781"/>
                  <a:pt x="481619" y="320340"/>
                </a:cubicBezTo>
                <a:close/>
              </a:path>
            </a:pathLst>
          </a:custGeom>
        </p:spPr>
      </p:pic>
      <p:sp>
        <p:nvSpPr>
          <p:cNvPr id="5" name="Ellipse 23">
            <a:extLst>
              <a:ext uri="{FF2B5EF4-FFF2-40B4-BE49-F238E27FC236}">
                <a16:creationId xmlns:a16="http://schemas.microsoft.com/office/drawing/2014/main" id="{597D6328-C952-7EAF-3357-E41FD561D3A8}"/>
              </a:ext>
            </a:extLst>
          </p:cNvPr>
          <p:cNvSpPr/>
          <p:nvPr userDrawn="1"/>
        </p:nvSpPr>
        <p:spPr>
          <a:xfrm>
            <a:off x="-164763" y="724740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B3D54B01-8EFF-A729-1804-C2C2BC6114C4}"/>
              </a:ext>
            </a:extLst>
          </p:cNvPr>
          <p:cNvSpPr/>
          <p:nvPr userDrawn="1"/>
        </p:nvSpPr>
        <p:spPr>
          <a:xfrm>
            <a:off x="-164763" y="228357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DC5697C-FE28-90D5-D402-F5CE5327AA22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55FC74-7499-93CE-C193-5280DEB8C31E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6ED9FA1-E26F-4148-447D-E85D6A741FCE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36" name="Title 19">
            <a:extLst>
              <a:ext uri="{FF2B5EF4-FFF2-40B4-BE49-F238E27FC236}">
                <a16:creationId xmlns:a16="http://schemas.microsoft.com/office/drawing/2014/main" id="{79F13D37-6953-1AEE-3678-9D5742BD5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219425"/>
            <a:ext cx="5548452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</a:t>
            </a:r>
            <a:br>
              <a:rPr lang="fr-FR"/>
            </a:br>
            <a:r>
              <a:rPr lang="fr-FR"/>
              <a:t>DIAPOSITIVE SUR 2 LIGN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804D368D-9AA7-85FE-BEC9-2B8F8A4EB6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736" y="964076"/>
            <a:ext cx="5548452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13BF0EA-16C3-AB8E-A250-777ECA9C8885}"/>
              </a:ext>
            </a:extLst>
          </p:cNvPr>
          <p:cNvSpPr txBox="1"/>
          <p:nvPr userDrawn="1"/>
        </p:nvSpPr>
        <p:spPr>
          <a:xfrm>
            <a:off x="-3610099" y="5106390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 rtl="0"/>
            <a:endParaRPr lang="fr-FR" sz="133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985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llipse 23">
            <a:extLst>
              <a:ext uri="{FF2B5EF4-FFF2-40B4-BE49-F238E27FC236}">
                <a16:creationId xmlns:a16="http://schemas.microsoft.com/office/drawing/2014/main" id="{897291A9-0C5A-8DF7-F995-3AD6BCD7C158}"/>
              </a:ext>
            </a:extLst>
          </p:cNvPr>
          <p:cNvSpPr/>
          <p:nvPr userDrawn="1"/>
        </p:nvSpPr>
        <p:spPr>
          <a:xfrm>
            <a:off x="-164763" y="724325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B22CEC38-B5AF-692B-8658-4A6017DFEA05}"/>
              </a:ext>
            </a:extLst>
          </p:cNvPr>
          <p:cNvSpPr/>
          <p:nvPr userDrawn="1"/>
        </p:nvSpPr>
        <p:spPr>
          <a:xfrm>
            <a:off x="-164763" y="227942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7431292-F8A8-7AC4-19EC-B20F6A09BCF2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BD30E-66F0-8AB7-3705-14D75DDD7C19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1760C8A-AE27-48F3-792A-866581BE1944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A5DEB3C4-4C1A-EBD6-ECCF-E5694958C7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4" y="1597261"/>
            <a:ext cx="7556399" cy="4408081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DIN Pro" panose="020B0504020201010104" pitchFamily="34" charset="0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DIN Pro" panose="020B0504020201010104" pitchFamily="34" charset="0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DIN Pro" panose="020B0504020201010104" pitchFamily="34" charset="0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24" name="Title 25">
            <a:extLst>
              <a:ext uri="{FF2B5EF4-FFF2-40B4-BE49-F238E27FC236}">
                <a16:creationId xmlns:a16="http://schemas.microsoft.com/office/drawing/2014/main" id="{0C256C3E-C6E2-B0DE-5BE0-4F571E201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385209"/>
            <a:ext cx="7556400" cy="332399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DIAPOSITIVE</a:t>
            </a:r>
          </a:p>
        </p:txBody>
      </p:sp>
      <p:sp>
        <p:nvSpPr>
          <p:cNvPr id="25" name="Text Placeholder 37">
            <a:extLst>
              <a:ext uri="{FF2B5EF4-FFF2-40B4-BE49-F238E27FC236}">
                <a16:creationId xmlns:a16="http://schemas.microsoft.com/office/drawing/2014/main" id="{B0F8D094-F6F4-CD56-D8A6-0CEB899891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36" y="797462"/>
            <a:ext cx="7556400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4043078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067BFC17-7DEE-85D0-D745-BBE0B349DB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2736" y="2118537"/>
            <a:ext cx="687644" cy="687644"/>
          </a:xfrm>
          <a:custGeom>
            <a:avLst/>
            <a:gdLst>
              <a:gd name="connsiteX0" fmla="*/ 343822 w 687644"/>
              <a:gd name="connsiteY0" fmla="*/ 0 h 687644"/>
              <a:gd name="connsiteX1" fmla="*/ 687644 w 687644"/>
              <a:gd name="connsiteY1" fmla="*/ 343822 h 687644"/>
              <a:gd name="connsiteX2" fmla="*/ 343822 w 687644"/>
              <a:gd name="connsiteY2" fmla="*/ 687644 h 687644"/>
              <a:gd name="connsiteX3" fmla="*/ 0 w 687644"/>
              <a:gd name="connsiteY3" fmla="*/ 343822 h 687644"/>
              <a:gd name="connsiteX4" fmla="*/ 343822 w 687644"/>
              <a:gd name="connsiteY4" fmla="*/ 0 h 68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644" h="687644">
                <a:moveTo>
                  <a:pt x="343822" y="0"/>
                </a:moveTo>
                <a:cubicBezTo>
                  <a:pt x="533710" y="0"/>
                  <a:pt x="687644" y="153934"/>
                  <a:pt x="687644" y="343822"/>
                </a:cubicBezTo>
                <a:cubicBezTo>
                  <a:pt x="687644" y="533710"/>
                  <a:pt x="533710" y="687644"/>
                  <a:pt x="343822" y="687644"/>
                </a:cubicBezTo>
                <a:cubicBezTo>
                  <a:pt x="153934" y="687644"/>
                  <a:pt x="0" y="533710"/>
                  <a:pt x="0" y="343822"/>
                </a:cubicBezTo>
                <a:cubicBezTo>
                  <a:pt x="0" y="153934"/>
                  <a:pt x="153934" y="0"/>
                  <a:pt x="343822" y="0"/>
                </a:cubicBezTo>
                <a:close/>
              </a:path>
            </a:pathLst>
          </a:custGeom>
          <a:ln w="12700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DIN Pro" panose="020B0504020201010104" pitchFamily="34" charset="0"/>
              </a:defRPr>
            </a:lvl1pPr>
          </a:lstStyle>
          <a:p>
            <a:pPr lvl="0"/>
            <a:r>
              <a:rPr lang="vi-VN"/>
              <a:t> </a:t>
            </a:r>
            <a:endParaRPr lang="fr-FR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29CA4F5-6DB5-662D-E0FD-59D34FF2D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6589" t="46108" r="45785" b="46206"/>
          <a:stretch/>
        </p:blipFill>
        <p:spPr>
          <a:xfrm>
            <a:off x="0" y="0"/>
            <a:ext cx="4848448" cy="1417320"/>
          </a:xfrm>
          <a:custGeom>
            <a:avLst/>
            <a:gdLst>
              <a:gd name="connsiteX0" fmla="*/ 0 w 4848448"/>
              <a:gd name="connsiteY0" fmla="*/ 0 h 1417320"/>
              <a:gd name="connsiteX1" fmla="*/ 4848448 w 4848448"/>
              <a:gd name="connsiteY1" fmla="*/ 0 h 1417320"/>
              <a:gd name="connsiteX2" fmla="*/ 4848448 w 4848448"/>
              <a:gd name="connsiteY2" fmla="*/ 971 h 1417320"/>
              <a:gd name="connsiteX3" fmla="*/ 4832424 w 4848448"/>
              <a:gd name="connsiteY3" fmla="*/ 1168 h 1417320"/>
              <a:gd name="connsiteX4" fmla="*/ 0 w 4848448"/>
              <a:gd name="connsiteY4" fmla="*/ 141732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48448" h="1417320">
                <a:moveTo>
                  <a:pt x="0" y="0"/>
                </a:moveTo>
                <a:lnTo>
                  <a:pt x="4848448" y="0"/>
                </a:lnTo>
                <a:lnTo>
                  <a:pt x="4848448" y="971"/>
                </a:lnTo>
                <a:lnTo>
                  <a:pt x="4832424" y="1168"/>
                </a:lnTo>
                <a:cubicBezTo>
                  <a:pt x="4069409" y="12457"/>
                  <a:pt x="0" y="132874"/>
                  <a:pt x="0" y="1417320"/>
                </a:cubicBez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B767BC7-0BA2-5251-46D5-25FBE7595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039" t="32135" r="45785" b="44674"/>
          <a:stretch/>
        </p:blipFill>
        <p:spPr>
          <a:xfrm>
            <a:off x="6091824" y="2581651"/>
            <a:ext cx="6100178" cy="4276351"/>
          </a:xfrm>
          <a:custGeom>
            <a:avLst/>
            <a:gdLst>
              <a:gd name="connsiteX0" fmla="*/ 4521819 w 6100178"/>
              <a:gd name="connsiteY0" fmla="*/ 0 h 4276351"/>
              <a:gd name="connsiteX1" fmla="*/ 6079117 w 6100178"/>
              <a:gd name="connsiteY1" fmla="*/ 274832 h 4276351"/>
              <a:gd name="connsiteX2" fmla="*/ 6100178 w 6100178"/>
              <a:gd name="connsiteY2" fmla="*/ 283137 h 4276351"/>
              <a:gd name="connsiteX3" fmla="*/ 6100178 w 6100178"/>
              <a:gd name="connsiteY3" fmla="*/ 4276351 h 4276351"/>
              <a:gd name="connsiteX4" fmla="*/ 0 w 6100178"/>
              <a:gd name="connsiteY4" fmla="*/ 4276351 h 4276351"/>
              <a:gd name="connsiteX5" fmla="*/ 15984 w 6100178"/>
              <a:gd name="connsiteY5" fmla="*/ 4066133 h 4276351"/>
              <a:gd name="connsiteX6" fmla="*/ 4521819 w 6100178"/>
              <a:gd name="connsiteY6" fmla="*/ 0 h 4276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00178" h="4276351">
                <a:moveTo>
                  <a:pt x="4521819" y="0"/>
                </a:moveTo>
                <a:cubicBezTo>
                  <a:pt x="5069005" y="0"/>
                  <a:pt x="5593527" y="97034"/>
                  <a:pt x="6079117" y="274832"/>
                </a:cubicBezTo>
                <a:lnTo>
                  <a:pt x="6100178" y="283137"/>
                </a:lnTo>
                <a:lnTo>
                  <a:pt x="6100178" y="4276351"/>
                </a:lnTo>
                <a:lnTo>
                  <a:pt x="0" y="4276351"/>
                </a:lnTo>
                <a:lnTo>
                  <a:pt x="15984" y="4066133"/>
                </a:lnTo>
                <a:cubicBezTo>
                  <a:pt x="247926" y="1782247"/>
                  <a:pt x="2176740" y="0"/>
                  <a:pt x="4521819" y="0"/>
                </a:cubicBezTo>
                <a:close/>
              </a:path>
            </a:pathLst>
          </a:cu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79DE5EE-AA92-8875-9A8C-F4E9BEF4BB6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006090-892A-E8CB-C168-352FB7E61477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AF4223A-CA2A-39A8-761A-340718BFD5F2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25" name="Title 19">
            <a:extLst>
              <a:ext uri="{FF2B5EF4-FFF2-40B4-BE49-F238E27FC236}">
                <a16:creationId xmlns:a16="http://schemas.microsoft.com/office/drawing/2014/main" id="{32EC0726-BCB9-0691-00A4-36CBCEA8E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854" y="391926"/>
            <a:ext cx="7351329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</a:t>
            </a:r>
            <a:br>
              <a:rPr lang="fr-FR"/>
            </a:br>
            <a:r>
              <a:rPr lang="fr-FR"/>
              <a:t>DIAPOSITIVE SUR 2 LIGNES</a:t>
            </a:r>
          </a:p>
        </p:txBody>
      </p:sp>
      <p:sp>
        <p:nvSpPr>
          <p:cNvPr id="26" name="Text Placeholder 37">
            <a:extLst>
              <a:ext uri="{FF2B5EF4-FFF2-40B4-BE49-F238E27FC236}">
                <a16:creationId xmlns:a16="http://schemas.microsoft.com/office/drawing/2014/main" id="{2BF1A56D-82D3-EB35-F32B-BE71E91026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854" y="1136577"/>
            <a:ext cx="7351329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37" name="Picture Placeholder 58">
            <a:extLst>
              <a:ext uri="{FF2B5EF4-FFF2-40B4-BE49-F238E27FC236}">
                <a16:creationId xmlns:a16="http://schemas.microsoft.com/office/drawing/2014/main" id="{15B88AFB-8692-9738-27C1-749AF3AA32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6152" y="2272145"/>
            <a:ext cx="440811" cy="380426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40" name="Text Placeholder 40">
            <a:extLst>
              <a:ext uri="{FF2B5EF4-FFF2-40B4-BE49-F238E27FC236}">
                <a16:creationId xmlns:a16="http://schemas.microsoft.com/office/drawing/2014/main" id="{9C358A77-B0B2-F0B2-10D4-5DF898EE4D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5" y="3331266"/>
            <a:ext cx="3955465" cy="2340714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DIN Pro" panose="020B0504020201010104" pitchFamily="34" charset="0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DIN Pro" panose="020B0504020201010104" pitchFamily="34" charset="0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DIN Pro" panose="020B0504020201010104" pitchFamily="34" charset="0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41" name="Text Placeholder 53">
            <a:extLst>
              <a:ext uri="{FF2B5EF4-FFF2-40B4-BE49-F238E27FC236}">
                <a16:creationId xmlns:a16="http://schemas.microsoft.com/office/drawing/2014/main" id="{BFA031CE-AB4A-8C44-B3AA-2BACEE1528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2736" y="2997147"/>
            <a:ext cx="3955465" cy="2492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18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2" name="Ellipse 23">
            <a:extLst>
              <a:ext uri="{FF2B5EF4-FFF2-40B4-BE49-F238E27FC236}">
                <a16:creationId xmlns:a16="http://schemas.microsoft.com/office/drawing/2014/main" id="{C0FA9843-3713-FC8D-ED6D-8B58AA4F74D5}"/>
              </a:ext>
            </a:extLst>
          </p:cNvPr>
          <p:cNvSpPr/>
          <p:nvPr userDrawn="1"/>
        </p:nvSpPr>
        <p:spPr>
          <a:xfrm>
            <a:off x="-164763" y="724325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" name="Ellipse 24">
            <a:extLst>
              <a:ext uri="{FF2B5EF4-FFF2-40B4-BE49-F238E27FC236}">
                <a16:creationId xmlns:a16="http://schemas.microsoft.com/office/drawing/2014/main" id="{D06FA2AA-37B4-0095-F8CC-B9F63B60FA53}"/>
              </a:ext>
            </a:extLst>
          </p:cNvPr>
          <p:cNvSpPr/>
          <p:nvPr userDrawn="1"/>
        </p:nvSpPr>
        <p:spPr>
          <a:xfrm>
            <a:off x="-164763" y="227942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24242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73D3CD01-156B-9B07-310A-B5A8E9FAAD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67306" y="0"/>
            <a:ext cx="5124694" cy="68580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imag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A5A1C54-2A12-9762-ED7E-D50D27723C10}"/>
              </a:ext>
            </a:extLst>
          </p:cNvPr>
          <p:cNvSpPr>
            <a:spLocks/>
          </p:cNvSpPr>
          <p:nvPr userDrawn="1"/>
        </p:nvSpPr>
        <p:spPr>
          <a:xfrm>
            <a:off x="1" y="1478613"/>
            <a:ext cx="7067306" cy="5379387"/>
          </a:xfrm>
          <a:prstGeom prst="rect">
            <a:avLst/>
          </a:prstGeom>
          <a:solidFill>
            <a:srgbClr val="F8F8F8"/>
          </a:solidFill>
          <a:ln w="12700" cap="flat">
            <a:noFill/>
            <a:miter lim="400000"/>
          </a:ln>
          <a:effectLst/>
        </p:spPr>
        <p:txBody>
          <a:bodyPr wrap="square" lIns="25394" tIns="25394" rIns="25394" bIns="25394" numCol="1" anchor="ctr">
            <a:noAutofit/>
          </a:bodyPr>
          <a:lstStyle/>
          <a:p>
            <a:pPr algn="ctr" defTabSz="412667" rtl="0"/>
            <a:endParaRPr lang="fr-FR" sz="1600">
              <a:solidFill>
                <a:srgbClr val="FFFFFF"/>
              </a:solidFill>
              <a:latin typeface="DIN Pro" panose="020B0504020201010104" pitchFamily="34" charset="0"/>
              <a:cs typeface="DIN Pro Regular" panose="020B0504020101020102" pitchFamily="34" charset="0"/>
            </a:endParaRPr>
          </a:p>
        </p:txBody>
      </p:sp>
      <p:sp>
        <p:nvSpPr>
          <p:cNvPr id="20" name="Ellipse 23">
            <a:extLst>
              <a:ext uri="{FF2B5EF4-FFF2-40B4-BE49-F238E27FC236}">
                <a16:creationId xmlns:a16="http://schemas.microsoft.com/office/drawing/2014/main" id="{D493762D-6C2A-DF5A-EFD4-4356ACC0307C}"/>
              </a:ext>
            </a:extLst>
          </p:cNvPr>
          <p:cNvSpPr/>
          <p:nvPr userDrawn="1"/>
        </p:nvSpPr>
        <p:spPr>
          <a:xfrm>
            <a:off x="-164763" y="724740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21" name="Ellipse 24">
            <a:extLst>
              <a:ext uri="{FF2B5EF4-FFF2-40B4-BE49-F238E27FC236}">
                <a16:creationId xmlns:a16="http://schemas.microsoft.com/office/drawing/2014/main" id="{7D62DFB2-C3C1-8048-661B-6ACFA12DD108}"/>
              </a:ext>
            </a:extLst>
          </p:cNvPr>
          <p:cNvSpPr/>
          <p:nvPr userDrawn="1"/>
        </p:nvSpPr>
        <p:spPr>
          <a:xfrm>
            <a:off x="-164763" y="228357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4" name="Title 25">
            <a:extLst>
              <a:ext uri="{FF2B5EF4-FFF2-40B4-BE49-F238E27FC236}">
                <a16:creationId xmlns:a16="http://schemas.microsoft.com/office/drawing/2014/main" id="{821C040C-E831-3D46-E16F-3AA57C4F2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219425"/>
            <a:ext cx="5403264" cy="666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DIAPOSITIVE SUR 2 LIGNES</a:t>
            </a:r>
          </a:p>
        </p:txBody>
      </p:sp>
      <p:sp>
        <p:nvSpPr>
          <p:cNvPr id="45" name="Text Placeholder 37">
            <a:extLst>
              <a:ext uri="{FF2B5EF4-FFF2-40B4-BE49-F238E27FC236}">
                <a16:creationId xmlns:a16="http://schemas.microsoft.com/office/drawing/2014/main" id="{6D375E98-B0CF-14FC-7F95-F2F6DCF26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6" y="964076"/>
            <a:ext cx="5403264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DFD53A7B-DE40-F2CF-405F-5A8C3B4AE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56666" y="6444730"/>
            <a:ext cx="1108833" cy="182260"/>
          </a:xfrm>
          <a:prstGeom prst="rect">
            <a:avLst/>
          </a:prstGeom>
          <a:blipFill dpi="0" rotWithShape="1">
            <a:blip r:embed="rId5" cstate="print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>
                <a:latin typeface="DIN Pro" panose="020B0504020201010104" pitchFamily="34" charset="0"/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290C491D-7DE9-DBE4-4D2E-34B2800575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736" y="1918614"/>
            <a:ext cx="5403600" cy="1599261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DD58345C-9230-C5E5-682C-1B5F5237E9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736" y="4004876"/>
            <a:ext cx="5403600" cy="1599261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2883069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Jaotise pä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t-EE"/>
              <a:t>Muutke tiitli laadi</a:t>
            </a:r>
          </a:p>
        </p:txBody>
      </p:sp>
      <p:sp>
        <p:nvSpPr>
          <p:cNvPr id="3" name="Teksti kohatäid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t-EE"/>
              <a:t>Muutke teksti laade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7091674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77D8693-FD53-4FD6-B3FD-09DFE16E1701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9438" y="436245"/>
            <a:ext cx="2834321" cy="241110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PART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C8B4826-34B1-4808-8633-DCACF750850D}"/>
              </a:ext>
            </a:extLst>
          </p:cNvPr>
          <p:cNvGrpSpPr/>
          <p:nvPr userDrawn="1"/>
        </p:nvGrpSpPr>
        <p:grpSpPr>
          <a:xfrm>
            <a:off x="-100190" y="414289"/>
            <a:ext cx="327109" cy="738094"/>
            <a:chOff x="-155969" y="2030971"/>
            <a:chExt cx="311937" cy="703858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74842B2A-6AB3-4D3D-A048-D9812448D1F5}"/>
                </a:ext>
              </a:extLst>
            </p:cNvPr>
            <p:cNvSpPr/>
            <p:nvPr userDrawn="1"/>
          </p:nvSpPr>
          <p:spPr>
            <a:xfrm>
              <a:off x="-155969" y="2422892"/>
              <a:ext cx="311937" cy="31193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13A409C6-3610-4973-B614-030E8BBEA025}"/>
                </a:ext>
              </a:extLst>
            </p:cNvPr>
            <p:cNvSpPr/>
            <p:nvPr userDrawn="1"/>
          </p:nvSpPr>
          <p:spPr>
            <a:xfrm>
              <a:off x="-155969" y="2030971"/>
              <a:ext cx="311937" cy="31193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0" name="Image 16" descr="D1-LOGO RC CORPO-BRANDS HD-01.png">
            <a:extLst>
              <a:ext uri="{FF2B5EF4-FFF2-40B4-BE49-F238E27FC236}">
                <a16:creationId xmlns:a16="http://schemas.microsoft.com/office/drawing/2014/main" id="{39D88174-0278-4E19-9EDC-46EB74C7EA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371177" y="529034"/>
            <a:ext cx="1325240" cy="507169"/>
          </a:xfrm>
          <a:prstGeom prst="rect">
            <a:avLst/>
          </a:prstGeom>
          <a:noFill/>
          <a:ln cap="flat">
            <a:noFill/>
          </a:ln>
          <a:effectLst/>
        </p:spPr>
      </p:pic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7024A73-9BE2-4705-8629-BE3F9DA60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56863" y="6490027"/>
            <a:ext cx="5996937" cy="175558"/>
          </a:xfrm>
        </p:spPr>
        <p:txBody>
          <a:bodyPr/>
          <a:lstStyle>
            <a:lvl1pPr marL="0" algn="r" defTabSz="914400" rtl="0" eaLnBrk="1" latinLnBrk="0" hangingPunct="1">
              <a:defRPr lang="en-GB" sz="7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OPYRIGHT MARS, INC. CONFIDENTIAL – INTERNAL USE ONLY. Eukanuba is a trademark of Mars, Inc. except in Europe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E6F32A8-64D6-4083-AF61-77E4FD7C2E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533" y="787146"/>
            <a:ext cx="5510467" cy="42443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492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761 -0.0007 L -1.875E-6 4.44444E-6 " pathEditMode="relative" rAng="0" ptsTypes="AA">
                                      <p:cBhvr>
                                        <p:cTn id="9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80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.07761 -0.0007 L -1.875E-6 4.44444E-6 " pathEditMode="relative" rAng="0" ptsTypes="AA">
                                      <p:cBhvr>
                                        <p:cTn id="14" dur="8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80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2" grpId="0"/>
      <p:bldP spid="12" grpId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97D58E9-0148-C3FA-0CE8-5A18D346FFE5}"/>
              </a:ext>
            </a:extLst>
          </p:cNvPr>
          <p:cNvSpPr/>
          <p:nvPr userDrawn="1"/>
        </p:nvSpPr>
        <p:spPr>
          <a:xfrm>
            <a:off x="692736" y="1549949"/>
            <a:ext cx="3574007" cy="2055580"/>
          </a:xfrm>
          <a:prstGeom prst="roundRect">
            <a:avLst>
              <a:gd name="adj" fmla="val 6801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6AEAB78-4013-C155-B384-60DE476DA992}"/>
              </a:ext>
            </a:extLst>
          </p:cNvPr>
          <p:cNvSpPr/>
          <p:nvPr userDrawn="1"/>
        </p:nvSpPr>
        <p:spPr>
          <a:xfrm>
            <a:off x="692736" y="3769821"/>
            <a:ext cx="3574007" cy="2055580"/>
          </a:xfrm>
          <a:prstGeom prst="roundRect">
            <a:avLst>
              <a:gd name="adj" fmla="val 6801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38F677F-5E32-730B-CE41-CA8A3DF1CAAD}"/>
              </a:ext>
            </a:extLst>
          </p:cNvPr>
          <p:cNvSpPr/>
          <p:nvPr userDrawn="1"/>
        </p:nvSpPr>
        <p:spPr>
          <a:xfrm>
            <a:off x="4497213" y="1549949"/>
            <a:ext cx="3574007" cy="2055580"/>
          </a:xfrm>
          <a:prstGeom prst="roundRect">
            <a:avLst>
              <a:gd name="adj" fmla="val 680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3A694C-CBA5-8245-BFAD-768F6BC40FB3}"/>
              </a:ext>
            </a:extLst>
          </p:cNvPr>
          <p:cNvSpPr/>
          <p:nvPr userDrawn="1"/>
        </p:nvSpPr>
        <p:spPr>
          <a:xfrm>
            <a:off x="4497213" y="3769821"/>
            <a:ext cx="3574007" cy="2055580"/>
          </a:xfrm>
          <a:prstGeom prst="roundRect">
            <a:avLst>
              <a:gd name="adj" fmla="val 6801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sp>
        <p:nvSpPr>
          <p:cNvPr id="19" name="Ellipse 23">
            <a:extLst>
              <a:ext uri="{FF2B5EF4-FFF2-40B4-BE49-F238E27FC236}">
                <a16:creationId xmlns:a16="http://schemas.microsoft.com/office/drawing/2014/main" id="{2AE5FA60-6518-FED4-3486-115F099B45AB}"/>
              </a:ext>
            </a:extLst>
          </p:cNvPr>
          <p:cNvSpPr/>
          <p:nvPr userDrawn="1"/>
        </p:nvSpPr>
        <p:spPr>
          <a:xfrm>
            <a:off x="-164763" y="724325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22" name="Ellipse 24">
            <a:extLst>
              <a:ext uri="{FF2B5EF4-FFF2-40B4-BE49-F238E27FC236}">
                <a16:creationId xmlns:a16="http://schemas.microsoft.com/office/drawing/2014/main" id="{49304F0C-850A-78B5-26CB-CA438EF77F8D}"/>
              </a:ext>
            </a:extLst>
          </p:cNvPr>
          <p:cNvSpPr/>
          <p:nvPr userDrawn="1"/>
        </p:nvSpPr>
        <p:spPr>
          <a:xfrm>
            <a:off x="-164763" y="227942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D551189B-D313-1F51-46A8-2C00D10DB575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B651F1C-E2C5-657E-FED3-26603688A9F0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E1CF100-DD7D-4859-1F10-2EBEEF2BDE42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56" name="Title 25">
            <a:extLst>
              <a:ext uri="{FF2B5EF4-FFF2-40B4-BE49-F238E27FC236}">
                <a16:creationId xmlns:a16="http://schemas.microsoft.com/office/drawing/2014/main" id="{90B32C50-7E5C-A54F-87D1-22A05E6B0F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385209"/>
            <a:ext cx="7556400" cy="332399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DIAPOSITIVE</a:t>
            </a: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CB45CAE9-1740-41C8-CA81-55A99C92DC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6" y="797462"/>
            <a:ext cx="7556400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26228CB8-DC08-AAAC-DFDB-9A74E6C9551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24885" y="1739048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1DE442A3-8C0D-8799-9526-F56AFCBD7A3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4885" y="3956954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F1591EE5-7C83-26F6-697D-D6C2D5AECB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396" y="3956954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D011C6C6-F357-E859-67BE-D40209F431F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27396" y="1739048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8" name="Text Placeholder 53">
            <a:extLst>
              <a:ext uri="{FF2B5EF4-FFF2-40B4-BE49-F238E27FC236}">
                <a16:creationId xmlns:a16="http://schemas.microsoft.com/office/drawing/2014/main" id="{38C07AC2-8396-002E-0356-46675E81C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67641" y="1739048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5BFFAA21-BFDB-0FD7-9874-0F91EFFE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72118" y="1739048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F049D37E-AB34-6DF2-EEBE-F9122029B0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72118" y="3958920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4" name="Text Placeholder 53">
            <a:extLst>
              <a:ext uri="{FF2B5EF4-FFF2-40B4-BE49-F238E27FC236}">
                <a16:creationId xmlns:a16="http://schemas.microsoft.com/office/drawing/2014/main" id="{0D3F0D3B-C1BD-8136-1CD1-3D880CA6E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67641" y="3958920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B967A5B7-C479-58FE-2E97-1B0F6A0CFD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667641" y="1954492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499CA9E-2639-1DDD-D584-F3EE204846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72118" y="1954492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619DB1FD-1DAB-2747-58CC-19701A0880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72118" y="4174364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A8568F-F579-0415-08B9-B2F24A7925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67641" y="4174364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2816813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939575A-B6CF-D3F0-CC91-D3106395D54A}"/>
              </a:ext>
            </a:extLst>
          </p:cNvPr>
          <p:cNvSpPr/>
          <p:nvPr userDrawn="1"/>
        </p:nvSpPr>
        <p:spPr>
          <a:xfrm>
            <a:off x="0" y="3962635"/>
            <a:ext cx="12192000" cy="18383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 rtl="0">
              <a:spcBef>
                <a:spcPct val="0"/>
              </a:spcBef>
            </a:pPr>
            <a:endParaRPr lang="fr-FR" sz="4000" b="1" cap="all">
              <a:solidFill>
                <a:schemeClr val="bg1"/>
              </a:solidFill>
              <a:latin typeface="+mj-lt"/>
              <a:ea typeface="+mj-ea"/>
              <a:cs typeface="DIN Pro Bold" panose="020B0504020101020102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8C08A5A-5B7B-B4D9-C32C-040CF5D12E4F}"/>
              </a:ext>
            </a:extLst>
          </p:cNvPr>
          <p:cNvGrpSpPr/>
          <p:nvPr userDrawn="1"/>
        </p:nvGrpSpPr>
        <p:grpSpPr>
          <a:xfrm>
            <a:off x="4862286" y="5164928"/>
            <a:ext cx="2467428" cy="1272210"/>
            <a:chOff x="9988529" y="0"/>
            <a:chExt cx="1848137" cy="952903"/>
          </a:xfrm>
        </p:grpSpPr>
        <p:sp>
          <p:nvSpPr>
            <p:cNvPr id="13" name="Rectangle: Top Corners Rounded 7">
              <a:extLst>
                <a:ext uri="{FF2B5EF4-FFF2-40B4-BE49-F238E27FC236}">
                  <a16:creationId xmlns:a16="http://schemas.microsoft.com/office/drawing/2014/main" id="{2B93F635-D3F1-29D2-3E34-297C0A60A7D9}"/>
                </a:ext>
              </a:extLst>
            </p:cNvPr>
            <p:cNvSpPr/>
            <p:nvPr/>
          </p:nvSpPr>
          <p:spPr>
            <a:xfrm>
              <a:off x="9988529" y="0"/>
              <a:ext cx="1848137" cy="95290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A96BF2E-32A0-CD9B-A0D9-E620EA3BEAC9}"/>
                </a:ext>
              </a:extLst>
            </p:cNvPr>
            <p:cNvGrpSpPr/>
            <p:nvPr/>
          </p:nvGrpSpPr>
          <p:grpSpPr>
            <a:xfrm>
              <a:off x="10161343" y="191322"/>
              <a:ext cx="1502508" cy="570259"/>
              <a:chOff x="8266579" y="-1491488"/>
              <a:chExt cx="1502508" cy="570259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05D9926F-4EEE-EDD3-83A3-2701848E82BA}"/>
                  </a:ext>
                </a:extLst>
              </p:cNvPr>
              <p:cNvGrpSpPr/>
              <p:nvPr/>
            </p:nvGrpSpPr>
            <p:grpSpPr>
              <a:xfrm>
                <a:off x="8266579" y="-1441356"/>
                <a:ext cx="220638" cy="520127"/>
                <a:chOff x="8266579" y="-1441356"/>
                <a:chExt cx="220638" cy="520127"/>
              </a:xfrm>
            </p:grpSpPr>
            <p:pic>
              <p:nvPicPr>
                <p:cNvPr id="28" name="Graphic 27">
                  <a:extLst>
                    <a:ext uri="{FF2B5EF4-FFF2-40B4-BE49-F238E27FC236}">
                      <a16:creationId xmlns:a16="http://schemas.microsoft.com/office/drawing/2014/main" id="{0E00A8E4-DAAF-0A51-C74B-623E3A215DA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7024" y="-1171237"/>
                  <a:ext cx="179748" cy="250008"/>
                </a:xfrm>
                <a:prstGeom prst="rect">
                  <a:avLst/>
                </a:prstGeom>
              </p:spPr>
            </p:pic>
            <p:pic>
              <p:nvPicPr>
                <p:cNvPr id="29" name="Graphic 28">
                  <a:extLst>
                    <a:ext uri="{FF2B5EF4-FFF2-40B4-BE49-F238E27FC236}">
                      <a16:creationId xmlns:a16="http://schemas.microsoft.com/office/drawing/2014/main" id="{FEEA3F40-53F1-3D57-D671-BA933ED738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579" y="-1441356"/>
                  <a:ext cx="220638" cy="206880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0A85B64-FD54-927E-76E2-725614392A50}"/>
                  </a:ext>
                </a:extLst>
              </p:cNvPr>
              <p:cNvGrpSpPr/>
              <p:nvPr/>
            </p:nvGrpSpPr>
            <p:grpSpPr>
              <a:xfrm>
                <a:off x="8614618" y="-1390839"/>
                <a:ext cx="227085" cy="469610"/>
                <a:chOff x="8655932" y="-1390839"/>
                <a:chExt cx="227085" cy="469610"/>
              </a:xfrm>
            </p:grpSpPr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8F8800FB-252B-E437-6EB0-91C124120A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55932" y="-1390839"/>
                  <a:ext cx="227085" cy="176289"/>
                </a:xfrm>
                <a:prstGeom prst="rect">
                  <a:avLst/>
                </a:prstGeom>
              </p:spPr>
            </p:pic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CB6ABD3F-3555-7A54-0E50-C37BEB41F0F4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960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A4C9CF3-1F88-D70F-7620-355993725281}"/>
                  </a:ext>
                </a:extLst>
              </p:cNvPr>
              <p:cNvGrpSpPr/>
              <p:nvPr/>
            </p:nvGrpSpPr>
            <p:grpSpPr>
              <a:xfrm>
                <a:off x="8969104" y="-1413707"/>
                <a:ext cx="185685" cy="492478"/>
                <a:chOff x="8996646" y="-1413707"/>
                <a:chExt cx="185685" cy="492478"/>
              </a:xfrm>
            </p:grpSpPr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67B973C6-3CA3-A2D2-9F28-A43C1D6B8C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6646" y="-1413707"/>
                  <a:ext cx="185685" cy="199157"/>
                </a:xfrm>
                <a:prstGeom prst="rect">
                  <a:avLst/>
                </a:prstGeom>
              </p:spPr>
            </p:pic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715ECDBE-AAAA-B31C-4DAF-17D190409231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9614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9D5090C-46E4-0EDA-6A86-43487EDD6BA3}"/>
                  </a:ext>
                </a:extLst>
              </p:cNvPr>
              <p:cNvGrpSpPr/>
              <p:nvPr/>
            </p:nvGrpSpPr>
            <p:grpSpPr>
              <a:xfrm>
                <a:off x="9282190" y="-1468641"/>
                <a:ext cx="179748" cy="547412"/>
                <a:chOff x="9295960" y="-1468641"/>
                <a:chExt cx="179748" cy="547412"/>
              </a:xfrm>
            </p:grpSpPr>
            <p:pic>
              <p:nvPicPr>
                <p:cNvPr id="22" name="Graphic 21">
                  <a:extLst>
                    <a:ext uri="{FF2B5EF4-FFF2-40B4-BE49-F238E27FC236}">
                      <a16:creationId xmlns:a16="http://schemas.microsoft.com/office/drawing/2014/main" id="{B23E95EE-0DF8-8509-2435-8390CB8585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468641"/>
                  <a:ext cx="179748" cy="254091"/>
                </a:xfrm>
                <a:prstGeom prst="rect">
                  <a:avLst/>
                </a:prstGeom>
              </p:spPr>
            </p:pic>
            <p:pic>
              <p:nvPicPr>
                <p:cNvPr id="23" name="Graphic 22">
                  <a:extLst>
                    <a:ext uri="{FF2B5EF4-FFF2-40B4-BE49-F238E27FC236}">
                      <a16:creationId xmlns:a16="http://schemas.microsoft.com/office/drawing/2014/main" id="{C1EB6D20-AF07-06FA-CDA6-3288EF4EAEE7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5960" y="-1171237"/>
                  <a:ext cx="179748" cy="250008"/>
                </a:xfrm>
                <a:prstGeom prst="rect">
                  <a:avLst/>
                </a:prstGeom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813316BA-4E4C-0323-7CC4-D3D6FA2B8BFC}"/>
                  </a:ext>
                </a:extLst>
              </p:cNvPr>
              <p:cNvGrpSpPr/>
              <p:nvPr/>
            </p:nvGrpSpPr>
            <p:grpSpPr>
              <a:xfrm>
                <a:off x="9589338" y="-1491488"/>
                <a:ext cx="179749" cy="570259"/>
                <a:chOff x="9589338" y="-1491488"/>
                <a:chExt cx="179749" cy="570259"/>
              </a:xfrm>
            </p:grpSpPr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67AD381C-CBF7-A26C-CCB4-3640D00898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491488"/>
                  <a:ext cx="179749" cy="276937"/>
                </a:xfrm>
                <a:prstGeom prst="rect">
                  <a:avLst/>
                </a:prstGeom>
              </p:spPr>
            </p:pic>
            <p:pic>
              <p:nvPicPr>
                <p:cNvPr id="21" name="Graphic 20">
                  <a:extLst>
                    <a:ext uri="{FF2B5EF4-FFF2-40B4-BE49-F238E27FC236}">
                      <a16:creationId xmlns:a16="http://schemas.microsoft.com/office/drawing/2014/main" id="{8DE05F68-1018-70DA-60D7-3B6DAD82B442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89338" y="-1171237"/>
                  <a:ext cx="179748" cy="250008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EA82D715-BC67-C032-5B28-0630F603B867}"/>
              </a:ext>
            </a:extLst>
          </p:cNvPr>
          <p:cNvSpPr txBox="1">
            <a:spLocks/>
          </p:cNvSpPr>
          <p:nvPr userDrawn="1"/>
        </p:nvSpPr>
        <p:spPr>
          <a:xfrm>
            <a:off x="9271319" y="285567"/>
            <a:ext cx="2635114" cy="433136"/>
          </a:xfrm>
          <a:prstGeom prst="rect">
            <a:avLst/>
          </a:prstGeom>
          <a:blipFill dpi="0"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4011A"/>
              </a:buClr>
              <a:buSzPct val="80000"/>
              <a:buFont typeface="Police système Courant"/>
              <a:buNone/>
              <a:defRPr sz="2400" kern="1200">
                <a:solidFill>
                  <a:srgbClr val="3D3D3C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4011A"/>
              </a:buClr>
              <a:buSzPct val="80000"/>
              <a:buFont typeface="Police système Courant"/>
              <a:buChar char="➤"/>
              <a:defRPr sz="2000" kern="1200">
                <a:solidFill>
                  <a:srgbClr val="878786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4011A"/>
              </a:buClr>
              <a:buSzPct val="80000"/>
              <a:buFont typeface="Police système Courant"/>
              <a:buChar char="➤"/>
              <a:defRPr sz="1800" kern="1200">
                <a:solidFill>
                  <a:srgbClr val="3D3D3C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4011A"/>
              </a:buClr>
              <a:buSzPct val="80000"/>
              <a:buFont typeface="Police système Courant"/>
              <a:buChar char="➤"/>
              <a:defRPr sz="1600" kern="1200">
                <a:solidFill>
                  <a:srgbClr val="3D3D3C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4011A"/>
              </a:buClr>
              <a:buSzPct val="80000"/>
              <a:buFont typeface="Police système Courant"/>
              <a:buChar char="➤"/>
              <a:defRPr sz="1600" kern="1200">
                <a:solidFill>
                  <a:srgbClr val="3D3D3C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fr-FR" noProof="1">
                <a:latin typeface="DIN Pro" panose="020B0504020201010104" pitchFamily="34" charset="0"/>
              </a:rPr>
              <a:t> </a:t>
            </a:r>
          </a:p>
        </p:txBody>
      </p:sp>
      <p:sp>
        <p:nvSpPr>
          <p:cNvPr id="56" name="Title 34">
            <a:extLst>
              <a:ext uri="{FF2B5EF4-FFF2-40B4-BE49-F238E27FC236}">
                <a16:creationId xmlns:a16="http://schemas.microsoft.com/office/drawing/2014/main" id="{113569DE-9CA7-C0C3-EF72-E5528244F3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6400" y="4135020"/>
            <a:ext cx="6199200" cy="553998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ctr" rtl="0">
              <a:lnSpc>
                <a:spcPct val="100000"/>
              </a:lnSpc>
              <a:defRPr cap="all" baseline="0">
                <a:solidFill>
                  <a:schemeClr val="bg1"/>
                </a:solidFill>
                <a:latin typeface="+mj-lt"/>
                <a:cs typeface="DIN Pro Bold" panose="020B0804020101020102" pitchFamily="34" charset="0"/>
              </a:defRPr>
            </a:lvl1pPr>
          </a:lstStyle>
          <a:p>
            <a:r>
              <a:rPr lang="fr-FR"/>
              <a:t>Nom de la présentation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D4EA3B5-44CA-26F1-942F-9128CCD778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96400" y="4783348"/>
            <a:ext cx="61992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rtl="0">
              <a:defRPr sz="1800" cap="all" spc="300" baseline="0">
                <a:solidFill>
                  <a:schemeClr val="bg1"/>
                </a:solidFill>
              </a:defRPr>
            </a:lvl1pPr>
          </a:lstStyle>
          <a:p>
            <a:fld id="{83D91943-7F67-44AA-A39A-25C7A721A773}" type="datetime4">
              <a:rPr lang="fr-FR" smtClean="0"/>
              <a:t>14 février 2024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906EA16-A981-1448-B08D-D7EDB48244B4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423065" y="133872"/>
            <a:ext cx="6772535" cy="380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2898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Ellipse 63">
            <a:extLst>
              <a:ext uri="{FF2B5EF4-FFF2-40B4-BE49-F238E27FC236}">
                <a16:creationId xmlns:a16="http://schemas.microsoft.com/office/drawing/2014/main" id="{4D83937C-3149-DE76-50F7-AF07A5D50FFC}"/>
              </a:ext>
            </a:extLst>
          </p:cNvPr>
          <p:cNvSpPr/>
          <p:nvPr userDrawn="1"/>
        </p:nvSpPr>
        <p:spPr>
          <a:xfrm>
            <a:off x="2649729" y="816186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ECFDF191-533C-FE27-F381-B23E652FE7D1}"/>
              </a:ext>
            </a:extLst>
          </p:cNvPr>
          <p:cNvSpPr/>
          <p:nvPr userDrawn="1"/>
        </p:nvSpPr>
        <p:spPr>
          <a:xfrm>
            <a:off x="2656490" y="2293908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0CE8E842-F88D-076B-D6F0-41596370C7BF}"/>
              </a:ext>
            </a:extLst>
          </p:cNvPr>
          <p:cNvSpPr/>
          <p:nvPr userDrawn="1"/>
        </p:nvSpPr>
        <p:spPr>
          <a:xfrm>
            <a:off x="2645828" y="3758021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58FED8ED-9924-0A6D-B0DA-6724F6B0C8DF}"/>
              </a:ext>
            </a:extLst>
          </p:cNvPr>
          <p:cNvSpPr/>
          <p:nvPr userDrawn="1"/>
        </p:nvSpPr>
        <p:spPr>
          <a:xfrm>
            <a:off x="2657578" y="5147505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003C593-9246-7A4C-5134-E25215B64C15}"/>
              </a:ext>
            </a:extLst>
          </p:cNvPr>
          <p:cNvSpPr/>
          <p:nvPr userDrawn="1"/>
        </p:nvSpPr>
        <p:spPr>
          <a:xfrm>
            <a:off x="0" y="-3"/>
            <a:ext cx="1514761" cy="6858002"/>
          </a:xfrm>
          <a:prstGeom prst="rect">
            <a:avLst/>
          </a:prstGeom>
          <a:solidFill>
            <a:srgbClr val="EC001A"/>
          </a:solidFill>
          <a:ln>
            <a:solidFill>
              <a:srgbClr val="EC001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AF1120BE-3294-8F43-3CF1-800057E33AF6}"/>
              </a:ext>
            </a:extLst>
          </p:cNvPr>
          <p:cNvSpPr/>
          <p:nvPr userDrawn="1"/>
        </p:nvSpPr>
        <p:spPr>
          <a:xfrm>
            <a:off x="10107179" y="6172202"/>
            <a:ext cx="2003482" cy="685799"/>
          </a:xfrm>
          <a:custGeom>
            <a:avLst/>
            <a:gdLst>
              <a:gd name="connsiteX0" fmla="*/ 289565 w 2003482"/>
              <a:gd name="connsiteY0" fmla="*/ 0 h 685799"/>
              <a:gd name="connsiteX1" fmla="*/ 1713917 w 2003482"/>
              <a:gd name="connsiteY1" fmla="*/ 0 h 685799"/>
              <a:gd name="connsiteX2" fmla="*/ 2003482 w 2003482"/>
              <a:gd name="connsiteY2" fmla="*/ 289565 h 685799"/>
              <a:gd name="connsiteX3" fmla="*/ 2003482 w 2003482"/>
              <a:gd name="connsiteY3" fmla="*/ 685799 h 685799"/>
              <a:gd name="connsiteX4" fmla="*/ 0 w 2003482"/>
              <a:gd name="connsiteY4" fmla="*/ 685799 h 685799"/>
              <a:gd name="connsiteX5" fmla="*/ 0 w 2003482"/>
              <a:gd name="connsiteY5" fmla="*/ 289565 h 685799"/>
              <a:gd name="connsiteX6" fmla="*/ 289565 w 2003482"/>
              <a:gd name="connsiteY6" fmla="*/ 0 h 68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3482" h="685799">
                <a:moveTo>
                  <a:pt x="289565" y="0"/>
                </a:moveTo>
                <a:lnTo>
                  <a:pt x="1713917" y="0"/>
                </a:lnTo>
                <a:cubicBezTo>
                  <a:pt x="1873839" y="0"/>
                  <a:pt x="2003482" y="129643"/>
                  <a:pt x="2003482" y="289565"/>
                </a:cubicBezTo>
                <a:lnTo>
                  <a:pt x="2003482" y="685799"/>
                </a:lnTo>
                <a:lnTo>
                  <a:pt x="0" y="685799"/>
                </a:lnTo>
                <a:lnTo>
                  <a:pt x="0" y="289565"/>
                </a:lnTo>
                <a:cubicBezTo>
                  <a:pt x="0" y="129643"/>
                  <a:pt x="129643" y="0"/>
                  <a:pt x="2895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99DC63D-9C83-F32A-3610-A03824645C07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8F433D-A306-D587-C32A-471D0DBC0E61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F4944D6-7E78-B36D-9BBC-C64EE53D849E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10" name="ZoneTexte 14">
            <a:extLst>
              <a:ext uri="{FF2B5EF4-FFF2-40B4-BE49-F238E27FC236}">
                <a16:creationId xmlns:a16="http://schemas.microsoft.com/office/drawing/2014/main" id="{B116FB18-732D-7D89-7263-24D7323487B6}"/>
              </a:ext>
            </a:extLst>
          </p:cNvPr>
          <p:cNvSpPr txBox="1"/>
          <p:nvPr userDrawn="1"/>
        </p:nvSpPr>
        <p:spPr>
          <a:xfrm>
            <a:off x="10507486" y="1405288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 rtl="0"/>
            <a:endParaRPr lang="fr-FR" sz="13300">
              <a:solidFill>
                <a:schemeClr val="bg1"/>
              </a:solidFill>
            </a:endParaRPr>
          </a:p>
        </p:txBody>
      </p:sp>
      <p:sp>
        <p:nvSpPr>
          <p:cNvPr id="57" name="Titre 1">
            <a:extLst>
              <a:ext uri="{FF2B5EF4-FFF2-40B4-BE49-F238E27FC236}">
                <a16:creationId xmlns:a16="http://schemas.microsoft.com/office/drawing/2014/main" id="{1047982A-CE09-57E4-60EF-B7AE2FAD09CC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656364" y="3034920"/>
            <a:ext cx="6858001" cy="78815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4011A"/>
                </a:solidFill>
                <a:latin typeface="DIN Pro Bold" panose="020B0504020101020102" pitchFamily="34" charset="0"/>
                <a:ea typeface="+mj-ea"/>
                <a:cs typeface="DIN Pro Bold" panose="020B0504020101020102" pitchFamily="34" charset="0"/>
              </a:defRPr>
            </a:lvl1pPr>
          </a:lstStyle>
          <a:p>
            <a:pPr algn="ctr" rtl="0"/>
            <a:r>
              <a:rPr lang="fr-FR" sz="5400">
                <a:solidFill>
                  <a:schemeClr val="bg1"/>
                </a:solidFill>
              </a:rPr>
              <a:t>TABLE OF CONTENT</a:t>
            </a:r>
          </a:p>
        </p:txBody>
      </p:sp>
      <p:sp>
        <p:nvSpPr>
          <p:cNvPr id="77" name="ZoneTexte 12">
            <a:extLst>
              <a:ext uri="{FF2B5EF4-FFF2-40B4-BE49-F238E27FC236}">
                <a16:creationId xmlns:a16="http://schemas.microsoft.com/office/drawing/2014/main" id="{5574377F-8646-F71E-A8E0-D5F22410DA28}"/>
              </a:ext>
            </a:extLst>
          </p:cNvPr>
          <p:cNvSpPr txBox="1"/>
          <p:nvPr userDrawn="1"/>
        </p:nvSpPr>
        <p:spPr>
          <a:xfrm>
            <a:off x="2387065" y="-298383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 rtl="0"/>
            <a:endParaRPr lang="fr-FR" sz="13300">
              <a:solidFill>
                <a:schemeClr val="bg1"/>
              </a:solidFill>
            </a:endParaRPr>
          </a:p>
        </p:txBody>
      </p:sp>
      <p:cxnSp>
        <p:nvCxnSpPr>
          <p:cNvPr id="87" name="Connecteur droit 32">
            <a:extLst>
              <a:ext uri="{FF2B5EF4-FFF2-40B4-BE49-F238E27FC236}">
                <a16:creationId xmlns:a16="http://schemas.microsoft.com/office/drawing/2014/main" id="{F743E028-65F8-C62D-249B-0C9585FC1F1D}"/>
              </a:ext>
            </a:extLst>
          </p:cNvPr>
          <p:cNvCxnSpPr>
            <a:cxnSpLocks/>
          </p:cNvCxnSpPr>
          <p:nvPr userDrawn="1"/>
        </p:nvCxnSpPr>
        <p:spPr>
          <a:xfrm>
            <a:off x="5869390" y="2477564"/>
            <a:ext cx="55651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35">
            <a:extLst>
              <a:ext uri="{FF2B5EF4-FFF2-40B4-BE49-F238E27FC236}">
                <a16:creationId xmlns:a16="http://schemas.microsoft.com/office/drawing/2014/main" id="{218E0A17-09B8-1158-1A7D-9CF7FC83ED44}"/>
              </a:ext>
            </a:extLst>
          </p:cNvPr>
          <p:cNvCxnSpPr>
            <a:cxnSpLocks/>
          </p:cNvCxnSpPr>
          <p:nvPr userDrawn="1"/>
        </p:nvCxnSpPr>
        <p:spPr>
          <a:xfrm>
            <a:off x="5869390" y="4290728"/>
            <a:ext cx="55651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36">
            <a:extLst>
              <a:ext uri="{FF2B5EF4-FFF2-40B4-BE49-F238E27FC236}">
                <a16:creationId xmlns:a16="http://schemas.microsoft.com/office/drawing/2014/main" id="{7925D613-C967-5BDE-7C6D-8FB9D4B17B55}"/>
              </a:ext>
            </a:extLst>
          </p:cNvPr>
          <p:cNvCxnSpPr>
            <a:cxnSpLocks/>
          </p:cNvCxnSpPr>
          <p:nvPr userDrawn="1"/>
        </p:nvCxnSpPr>
        <p:spPr>
          <a:xfrm>
            <a:off x="5869390" y="5197310"/>
            <a:ext cx="55651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 Placeholder 53">
            <a:extLst>
              <a:ext uri="{FF2B5EF4-FFF2-40B4-BE49-F238E27FC236}">
                <a16:creationId xmlns:a16="http://schemas.microsoft.com/office/drawing/2014/main" id="{F8C917D1-D1D1-AAE2-45A4-4DB5757448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8099" y="120618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13" name="Text Placeholder 53">
            <a:extLst>
              <a:ext uri="{FF2B5EF4-FFF2-40B4-BE49-F238E27FC236}">
                <a16:creationId xmlns:a16="http://schemas.microsoft.com/office/drawing/2014/main" id="{6F484C3B-D704-F24C-1213-6A910B7349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099" y="4089218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20" name="Text Placeholder 53">
            <a:extLst>
              <a:ext uri="{FF2B5EF4-FFF2-40B4-BE49-F238E27FC236}">
                <a16:creationId xmlns:a16="http://schemas.microsoft.com/office/drawing/2014/main" id="{F5F12497-E1B3-10DD-339D-4ACD6CEABE6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80974" y="1192190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1" name="Text Placeholder 53">
            <a:extLst>
              <a:ext uri="{FF2B5EF4-FFF2-40B4-BE49-F238E27FC236}">
                <a16:creationId xmlns:a16="http://schemas.microsoft.com/office/drawing/2014/main" id="{3C5232EF-8839-C785-31FA-8C5E9E5EE4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87735" y="261799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22" name="Text Placeholder 53">
            <a:extLst>
              <a:ext uri="{FF2B5EF4-FFF2-40B4-BE49-F238E27FC236}">
                <a16:creationId xmlns:a16="http://schemas.microsoft.com/office/drawing/2014/main" id="{7C5C9FE8-48C4-A4C4-9654-598C74A69F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7735" y="4081920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24" name="Text Placeholder 53">
            <a:extLst>
              <a:ext uri="{FF2B5EF4-FFF2-40B4-BE49-F238E27FC236}">
                <a16:creationId xmlns:a16="http://schemas.microsoft.com/office/drawing/2014/main" id="{D2882803-BF63-7313-7130-9A796BD401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04918" y="5481475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2E3E2072-583E-F31F-EAB6-732120E8F1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28099" y="261799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30" name="Text Placeholder 53">
            <a:extLst>
              <a:ext uri="{FF2B5EF4-FFF2-40B4-BE49-F238E27FC236}">
                <a16:creationId xmlns:a16="http://schemas.microsoft.com/office/drawing/2014/main" id="{5CAED7E4-0737-7C56-D7DE-4F33C050E3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8099" y="5484305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8DEACFB-8C40-5751-1E40-6D671A909A40}"/>
              </a:ext>
            </a:extLst>
          </p:cNvPr>
          <p:cNvSpPr txBox="1"/>
          <p:nvPr userDrawn="1"/>
        </p:nvSpPr>
        <p:spPr>
          <a:xfrm>
            <a:off x="3149600" y="436880"/>
            <a:ext cx="0" cy="0"/>
          </a:xfrm>
          <a:prstGeom prst="rect">
            <a:avLst/>
          </a:prstGeom>
        </p:spPr>
        <p:txBody>
          <a:bodyPr vert="horz" wrap="none" lIns="103146" tIns="0" rIns="103146" bIns="0" rtlCol="0" anchor="t">
            <a:normAutofit fontScale="25000" lnSpcReduction="20000"/>
          </a:bodyPr>
          <a:lstStyle/>
          <a:p>
            <a:pPr algn="l"/>
            <a:endParaRPr lang="fr-FR" sz="13300">
              <a:solidFill>
                <a:schemeClr val="bg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6C57FEF7-2054-5987-8899-72093D9FC5C3}"/>
              </a:ext>
            </a:extLst>
          </p:cNvPr>
          <p:cNvSpPr/>
          <p:nvPr userDrawn="1"/>
        </p:nvSpPr>
        <p:spPr>
          <a:xfrm>
            <a:off x="7513626" y="2293908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4D909AC1-EC6B-5694-F5A2-52607EF92BBB}"/>
              </a:ext>
            </a:extLst>
          </p:cNvPr>
          <p:cNvSpPr/>
          <p:nvPr userDrawn="1"/>
        </p:nvSpPr>
        <p:spPr>
          <a:xfrm>
            <a:off x="7502964" y="3758021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4FF01059-708F-FEC7-128A-CED6D1E3FDDB}"/>
              </a:ext>
            </a:extLst>
          </p:cNvPr>
          <p:cNvSpPr/>
          <p:nvPr userDrawn="1"/>
        </p:nvSpPr>
        <p:spPr>
          <a:xfrm>
            <a:off x="7514714" y="5147505"/>
            <a:ext cx="1340294" cy="1340294"/>
          </a:xfrm>
          <a:prstGeom prst="ellipse">
            <a:avLst/>
          </a:prstGeom>
          <a:solidFill>
            <a:schemeClr val="bg1"/>
          </a:solidFill>
          <a:ln>
            <a:solidFill>
              <a:srgbClr val="DBDF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2" name="Text Placeholder 53">
            <a:extLst>
              <a:ext uri="{FF2B5EF4-FFF2-40B4-BE49-F238E27FC236}">
                <a16:creationId xmlns:a16="http://schemas.microsoft.com/office/drawing/2014/main" id="{02C7473A-C537-6D71-FE8D-1170793BFE2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5235" y="120618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83D3C03E-08B0-1ABA-8DA3-8C691404F6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5235" y="4089218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74" name="Text Placeholder 53">
            <a:extLst>
              <a:ext uri="{FF2B5EF4-FFF2-40B4-BE49-F238E27FC236}">
                <a16:creationId xmlns:a16="http://schemas.microsoft.com/office/drawing/2014/main" id="{B7E92616-158B-F5E0-85A2-A3672981D9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38110" y="1192190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5</a:t>
            </a:r>
          </a:p>
        </p:txBody>
      </p:sp>
      <p:sp>
        <p:nvSpPr>
          <p:cNvPr id="75" name="Text Placeholder 53">
            <a:extLst>
              <a:ext uri="{FF2B5EF4-FFF2-40B4-BE49-F238E27FC236}">
                <a16:creationId xmlns:a16="http://schemas.microsoft.com/office/drawing/2014/main" id="{66E30280-E545-6EA2-84D4-C0280E211F9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44871" y="261799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6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6A5AB844-69F7-8783-DBBC-AAA4B99569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44871" y="4081920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7</a:t>
            </a:r>
          </a:p>
        </p:txBody>
      </p:sp>
      <p:sp>
        <p:nvSpPr>
          <p:cNvPr id="101" name="Text Placeholder 53">
            <a:extLst>
              <a:ext uri="{FF2B5EF4-FFF2-40B4-BE49-F238E27FC236}">
                <a16:creationId xmlns:a16="http://schemas.microsoft.com/office/drawing/2014/main" id="{96BA7D9B-89E6-085C-80B3-908B2F060A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054" y="5481475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rgbClr val="DBDFE3"/>
                </a:solidFill>
                <a:latin typeface="+mj-lt"/>
              </a:defRPr>
            </a:lvl1pPr>
          </a:lstStyle>
          <a:p>
            <a:pPr lvl="0"/>
            <a:r>
              <a:rPr lang="fr-FR"/>
              <a:t>08</a:t>
            </a:r>
          </a:p>
        </p:txBody>
      </p:sp>
      <p:sp>
        <p:nvSpPr>
          <p:cNvPr id="102" name="Text Placeholder 53">
            <a:extLst>
              <a:ext uri="{FF2B5EF4-FFF2-40B4-BE49-F238E27FC236}">
                <a16:creationId xmlns:a16="http://schemas.microsoft.com/office/drawing/2014/main" id="{7AB8D2A4-CD3A-80D4-1D0F-169E0EDF1C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85235" y="2617994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  <p:sp>
        <p:nvSpPr>
          <p:cNvPr id="103" name="Text Placeholder 53">
            <a:extLst>
              <a:ext uri="{FF2B5EF4-FFF2-40B4-BE49-F238E27FC236}">
                <a16:creationId xmlns:a16="http://schemas.microsoft.com/office/drawing/2014/main" id="{D01DCCC8-AF4B-9047-0C19-872E09B4E6B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5235" y="5484305"/>
            <a:ext cx="2077804" cy="71376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EC001A"/>
                </a:solidFill>
                <a:latin typeface="+mj-lt"/>
              </a:defRPr>
            </a:lvl1pPr>
          </a:lstStyle>
          <a:p>
            <a:pPr lvl="0"/>
            <a:r>
              <a:rPr lang="fr-FR"/>
              <a:t>CECI EST LE 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643671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89590E4-A6F1-5189-9480-9DAB4BD14122}"/>
              </a:ext>
            </a:extLst>
          </p:cNvPr>
          <p:cNvSpPr/>
          <p:nvPr userDrawn="1"/>
        </p:nvSpPr>
        <p:spPr>
          <a:xfrm>
            <a:off x="6096000" y="1611891"/>
            <a:ext cx="5403264" cy="3933503"/>
          </a:xfrm>
          <a:prstGeom prst="roundRect">
            <a:avLst>
              <a:gd name="adj" fmla="val 3134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0C3DA7-24EE-F73E-5270-1565DB2F461E}"/>
              </a:ext>
            </a:extLst>
          </p:cNvPr>
          <p:cNvGrpSpPr/>
          <p:nvPr userDrawn="1"/>
        </p:nvGrpSpPr>
        <p:grpSpPr>
          <a:xfrm>
            <a:off x="-164763" y="227942"/>
            <a:ext cx="396604" cy="892987"/>
            <a:chOff x="-343645" y="227942"/>
            <a:chExt cx="702256" cy="1581186"/>
          </a:xfrm>
        </p:grpSpPr>
        <p:sp>
          <p:nvSpPr>
            <p:cNvPr id="7" name="Ellipse 23">
              <a:extLst>
                <a:ext uri="{FF2B5EF4-FFF2-40B4-BE49-F238E27FC236}">
                  <a16:creationId xmlns:a16="http://schemas.microsoft.com/office/drawing/2014/main" id="{6C4768E3-0CDA-B197-9885-97FA6D4FC213}"/>
                </a:ext>
              </a:extLst>
            </p:cNvPr>
            <p:cNvSpPr/>
            <p:nvPr/>
          </p:nvSpPr>
          <p:spPr>
            <a:xfrm>
              <a:off x="-343645" y="1106872"/>
              <a:ext cx="702256" cy="702256"/>
            </a:xfrm>
            <a:prstGeom prst="ellipse">
              <a:avLst/>
            </a:prstGeom>
            <a:solidFill>
              <a:srgbClr val="E401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  <p:sp>
          <p:nvSpPr>
            <p:cNvPr id="8" name="Ellipse 24">
              <a:extLst>
                <a:ext uri="{FF2B5EF4-FFF2-40B4-BE49-F238E27FC236}">
                  <a16:creationId xmlns:a16="http://schemas.microsoft.com/office/drawing/2014/main" id="{84A8F78B-5A67-AC2A-8CB6-3293A7CEFAB9}"/>
                </a:ext>
              </a:extLst>
            </p:cNvPr>
            <p:cNvSpPr/>
            <p:nvPr/>
          </p:nvSpPr>
          <p:spPr>
            <a:xfrm>
              <a:off x="-343645" y="227942"/>
              <a:ext cx="702256" cy="702256"/>
            </a:xfrm>
            <a:prstGeom prst="ellipse">
              <a:avLst/>
            </a:prstGeom>
            <a:solidFill>
              <a:srgbClr val="E401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-FR"/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ECD42A2E-339E-155A-1248-81377E17948F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5988F-1A4C-E1AC-0B7E-1D7FD439055F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B2117AD-9C7A-BAF3-A40E-DEB6257BB008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24" name="Title 25">
            <a:extLst>
              <a:ext uri="{FF2B5EF4-FFF2-40B4-BE49-F238E27FC236}">
                <a16:creationId xmlns:a16="http://schemas.microsoft.com/office/drawing/2014/main" id="{6F10312E-1D54-04F1-C8F5-AC9E18FA3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5" y="385209"/>
            <a:ext cx="9145467" cy="332399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DIAPOSITIVE</a:t>
            </a:r>
          </a:p>
        </p:txBody>
      </p:sp>
      <p:sp>
        <p:nvSpPr>
          <p:cNvPr id="25" name="Text Placeholder 37">
            <a:extLst>
              <a:ext uri="{FF2B5EF4-FFF2-40B4-BE49-F238E27FC236}">
                <a16:creationId xmlns:a16="http://schemas.microsoft.com/office/drawing/2014/main" id="{D6D629BF-7061-5886-8B70-94CE11744B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35" y="797462"/>
            <a:ext cx="9145467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27" name="Chart Placeholder 26">
            <a:extLst>
              <a:ext uri="{FF2B5EF4-FFF2-40B4-BE49-F238E27FC236}">
                <a16:creationId xmlns:a16="http://schemas.microsoft.com/office/drawing/2014/main" id="{DD76AF08-B348-D21A-FEE2-199A6B25CEC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01238" y="2373817"/>
            <a:ext cx="4791600" cy="2872291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buNone/>
              <a:defRPr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graphique</a:t>
            </a:r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503D830D-914D-C989-6AE9-C14DB1CE34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5" y="1946010"/>
            <a:ext cx="4604400" cy="360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DIN Pro" panose="020B0504020201010104" pitchFamily="34" charset="0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DIN Pro" panose="020B0504020201010104" pitchFamily="34" charset="0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DIN Pro" panose="020B0504020201010104" pitchFamily="34" charset="0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33" name="Text Placeholder 53">
            <a:extLst>
              <a:ext uri="{FF2B5EF4-FFF2-40B4-BE49-F238E27FC236}">
                <a16:creationId xmlns:a16="http://schemas.microsoft.com/office/drawing/2014/main" id="{EAB1E133-4C5B-8005-CAF9-610B8E1CF1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2736" y="1611891"/>
            <a:ext cx="4604400" cy="2492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18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36" name="Text Placeholder 53">
            <a:extLst>
              <a:ext uri="{FF2B5EF4-FFF2-40B4-BE49-F238E27FC236}">
                <a16:creationId xmlns:a16="http://schemas.microsoft.com/office/drawing/2014/main" id="{10C546F3-2E30-1330-A891-4E3EE0F8C7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01832" y="1884572"/>
            <a:ext cx="4791600" cy="2492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buNone/>
              <a:defRPr sz="18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GRAPHIQUE</a:t>
            </a:r>
          </a:p>
        </p:txBody>
      </p:sp>
    </p:spTree>
    <p:extLst>
      <p:ext uri="{BB962C8B-B14F-4D97-AF65-F5344CB8AC3E}">
        <p14:creationId xmlns:p14="http://schemas.microsoft.com/office/powerpoint/2010/main" val="30562904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Ellipse 23">
            <a:extLst>
              <a:ext uri="{FF2B5EF4-FFF2-40B4-BE49-F238E27FC236}">
                <a16:creationId xmlns:a16="http://schemas.microsoft.com/office/drawing/2014/main" id="{2AE5FA60-6518-FED4-3486-115F099B45AB}"/>
              </a:ext>
            </a:extLst>
          </p:cNvPr>
          <p:cNvSpPr/>
          <p:nvPr userDrawn="1"/>
        </p:nvSpPr>
        <p:spPr>
          <a:xfrm>
            <a:off x="-164763" y="724325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22" name="Ellipse 24">
            <a:extLst>
              <a:ext uri="{FF2B5EF4-FFF2-40B4-BE49-F238E27FC236}">
                <a16:creationId xmlns:a16="http://schemas.microsoft.com/office/drawing/2014/main" id="{49304F0C-850A-78B5-26CB-CA438EF77F8D}"/>
              </a:ext>
            </a:extLst>
          </p:cNvPr>
          <p:cNvSpPr/>
          <p:nvPr userDrawn="1"/>
        </p:nvSpPr>
        <p:spPr>
          <a:xfrm>
            <a:off x="-164763" y="227942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D551189B-D313-1F51-46A8-2C00D10DB575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B651F1C-E2C5-657E-FED3-26603688A9F0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E1CF100-DD7D-4859-1F10-2EBEEF2BDE42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56" name="Title 25">
            <a:extLst>
              <a:ext uri="{FF2B5EF4-FFF2-40B4-BE49-F238E27FC236}">
                <a16:creationId xmlns:a16="http://schemas.microsoft.com/office/drawing/2014/main" id="{90B32C50-7E5C-A54F-87D1-22A05E6B0F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736" y="385209"/>
            <a:ext cx="7556400" cy="332399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CECI EST LE TITRE DE LA DIAPOSITIVE</a:t>
            </a: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CB45CAE9-1740-41C8-CA81-55A99C92DC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6" y="797462"/>
            <a:ext cx="7556400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26228CB8-DC08-AAAC-DFDB-9A74E6C9551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24885" y="1739048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1DE442A3-8C0D-8799-9526-F56AFCBD7A3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4885" y="3956954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F1591EE5-7C83-26F6-697D-D6C2D5AECB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396" y="3956954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D011C6C6-F357-E859-67BE-D40209F431F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27396" y="1739048"/>
            <a:ext cx="579600" cy="579600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68" name="Text Placeholder 53">
            <a:extLst>
              <a:ext uri="{FF2B5EF4-FFF2-40B4-BE49-F238E27FC236}">
                <a16:creationId xmlns:a16="http://schemas.microsoft.com/office/drawing/2014/main" id="{38C07AC2-8396-002E-0356-46675E81C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67641" y="1739048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5BFFAA21-BFDB-0FD7-9874-0F91EFFE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72118" y="1739048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F049D37E-AB34-6DF2-EEBE-F9122029B0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72118" y="3958920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74" name="Text Placeholder 53">
            <a:extLst>
              <a:ext uri="{FF2B5EF4-FFF2-40B4-BE49-F238E27FC236}">
                <a16:creationId xmlns:a16="http://schemas.microsoft.com/office/drawing/2014/main" id="{0D3F0D3B-C1BD-8136-1CD1-3D880CA6E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67641" y="3958920"/>
            <a:ext cx="2368800" cy="2154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B967A5B7-C479-58FE-2E97-1B0F6A0CFD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667641" y="1954492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499CA9E-2639-1DDD-D584-F3EE204846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72118" y="1954492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619DB1FD-1DAB-2747-58CC-19701A0880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72118" y="4174364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A8568F-F579-0415-08B9-B2F24A7925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67641" y="4174364"/>
            <a:ext cx="2368800" cy="1461600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rgbClr val="3D3D3C"/>
                </a:solidFill>
                <a:latin typeface="+mj-lt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DIN Pro Regular" panose="020B0504020101020102" pitchFamily="34" charset="0"/>
              <a:buChar char="–"/>
              <a:defRPr sz="900">
                <a:solidFill>
                  <a:srgbClr val="3D3D3C"/>
                </a:solidFill>
                <a:latin typeface="+mj-lt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800">
                <a:solidFill>
                  <a:srgbClr val="3D3D3C"/>
                </a:solidFill>
                <a:latin typeface="+mj-lt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1433925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242D060-CACC-F33F-9FAC-6D1D922FA5C9}"/>
              </a:ext>
            </a:extLst>
          </p:cNvPr>
          <p:cNvSpPr/>
          <p:nvPr userDrawn="1"/>
        </p:nvSpPr>
        <p:spPr>
          <a:xfrm rot="15387259">
            <a:off x="8334763" y="2071420"/>
            <a:ext cx="5544227" cy="3521641"/>
          </a:xfrm>
          <a:custGeom>
            <a:avLst/>
            <a:gdLst>
              <a:gd name="connsiteX0" fmla="*/ 5695935 w 5701820"/>
              <a:gd name="connsiteY0" fmla="*/ 3475616 h 3621743"/>
              <a:gd name="connsiteX1" fmla="*/ 5621177 w 5701820"/>
              <a:gd name="connsiteY1" fmla="*/ 3612919 h 3621743"/>
              <a:gd name="connsiteX2" fmla="*/ 5610256 w 5701820"/>
              <a:gd name="connsiteY2" fmla="*/ 3621743 h 3621743"/>
              <a:gd name="connsiteX3" fmla="*/ 5169995 w 5701820"/>
              <a:gd name="connsiteY3" fmla="*/ 3515674 h 3621743"/>
              <a:gd name="connsiteX4" fmla="*/ 5151717 w 5701820"/>
              <a:gd name="connsiteY4" fmla="*/ 3435790 h 3621743"/>
              <a:gd name="connsiteX5" fmla="*/ 5248809 w 5701820"/>
              <a:gd name="connsiteY5" fmla="*/ 3208371 h 3621743"/>
              <a:gd name="connsiteX6" fmla="*/ 5231621 w 5701820"/>
              <a:gd name="connsiteY6" fmla="*/ 3090909 h 3621743"/>
              <a:gd name="connsiteX7" fmla="*/ 5082645 w 5701820"/>
              <a:gd name="connsiteY7" fmla="*/ 2957694 h 3621743"/>
              <a:gd name="connsiteX8" fmla="*/ 4750320 w 5701820"/>
              <a:gd name="connsiteY8" fmla="*/ 2937639 h 3621743"/>
              <a:gd name="connsiteX9" fmla="*/ 4551211 w 5701820"/>
              <a:gd name="connsiteY9" fmla="*/ 2830207 h 3621743"/>
              <a:gd name="connsiteX10" fmla="*/ 4167316 w 5701820"/>
              <a:gd name="connsiteY10" fmla="*/ 2878909 h 3621743"/>
              <a:gd name="connsiteX11" fmla="*/ 3950973 w 5701820"/>
              <a:gd name="connsiteY11" fmla="*/ 3131712 h 3621743"/>
              <a:gd name="connsiteX12" fmla="*/ 3909945 w 5701820"/>
              <a:gd name="connsiteY12" fmla="*/ 3212100 h 3621743"/>
              <a:gd name="connsiteX13" fmla="*/ 0 w 5701820"/>
              <a:gd name="connsiteY13" fmla="*/ 2270107 h 3621743"/>
              <a:gd name="connsiteX14" fmla="*/ 7177 w 5701820"/>
              <a:gd name="connsiteY14" fmla="*/ 2227740 h 3621743"/>
              <a:gd name="connsiteX15" fmla="*/ 36157 w 5701820"/>
              <a:gd name="connsiteY15" fmla="*/ 2122586 h 3621743"/>
              <a:gd name="connsiteX16" fmla="*/ 663566 w 5701820"/>
              <a:gd name="connsiteY16" fmla="*/ 1463668 h 3621743"/>
              <a:gd name="connsiteX17" fmla="*/ 803945 w 5701820"/>
              <a:gd name="connsiteY17" fmla="*/ 1048261 h 3621743"/>
              <a:gd name="connsiteX18" fmla="*/ 801080 w 5701820"/>
              <a:gd name="connsiteY18" fmla="*/ 993828 h 3621743"/>
              <a:gd name="connsiteX19" fmla="*/ 421484 w 5701820"/>
              <a:gd name="connsiteY19" fmla="*/ 539749 h 3621743"/>
              <a:gd name="connsiteX20" fmla="*/ 889892 w 5701820"/>
              <a:gd name="connsiteY20" fmla="*/ 1153 h 3621743"/>
              <a:gd name="connsiteX21" fmla="*/ 1428490 w 5701820"/>
              <a:gd name="connsiteY21" fmla="*/ 469558 h 3621743"/>
              <a:gd name="connsiteX22" fmla="*/ 1101893 w 5701820"/>
              <a:gd name="connsiteY22" fmla="*/ 976640 h 3621743"/>
              <a:gd name="connsiteX23" fmla="*/ 1099029 w 5701820"/>
              <a:gd name="connsiteY23" fmla="*/ 1059722 h 3621743"/>
              <a:gd name="connsiteX24" fmla="*/ 1315328 w 5701820"/>
              <a:gd name="connsiteY24" fmla="*/ 1426423 h 3621743"/>
              <a:gd name="connsiteX25" fmla="*/ 1382651 w 5701820"/>
              <a:gd name="connsiteY25" fmla="*/ 1446478 h 3621743"/>
              <a:gd name="connsiteX26" fmla="*/ 2113196 w 5701820"/>
              <a:gd name="connsiteY26" fmla="*/ 2477829 h 3621743"/>
              <a:gd name="connsiteX27" fmla="*/ 2358144 w 5701820"/>
              <a:gd name="connsiteY27" fmla="*/ 2619639 h 3621743"/>
              <a:gd name="connsiteX28" fmla="*/ 2644631 w 5701820"/>
              <a:gd name="connsiteY28" fmla="*/ 2674073 h 3621743"/>
              <a:gd name="connsiteX29" fmla="*/ 3389502 w 5701820"/>
              <a:gd name="connsiteY29" fmla="*/ 2506477 h 3621743"/>
              <a:gd name="connsiteX30" fmla="*/ 3602936 w 5701820"/>
              <a:gd name="connsiteY30" fmla="*/ 2618207 h 3621743"/>
              <a:gd name="connsiteX31" fmla="*/ 4068478 w 5701820"/>
              <a:gd name="connsiteY31" fmla="*/ 2601019 h 3621743"/>
              <a:gd name="connsiteX32" fmla="*/ 4307695 w 5701820"/>
              <a:gd name="connsiteY32" fmla="*/ 2399045 h 3621743"/>
              <a:gd name="connsiteX33" fmla="*/ 4336345 w 5701820"/>
              <a:gd name="connsiteY33" fmla="*/ 2115423 h 3621743"/>
              <a:gd name="connsiteX34" fmla="*/ 5158565 w 5701820"/>
              <a:gd name="connsiteY34" fmla="*/ 1701452 h 3621743"/>
              <a:gd name="connsiteX35" fmla="*/ 5572541 w 5701820"/>
              <a:gd name="connsiteY35" fmla="*/ 2523667 h 3621743"/>
              <a:gd name="connsiteX36" fmla="*/ 5383459 w 5701820"/>
              <a:gd name="connsiteY36" fmla="*/ 2808721 h 3621743"/>
              <a:gd name="connsiteX37" fmla="*/ 5374864 w 5701820"/>
              <a:gd name="connsiteY37" fmla="*/ 3050803 h 3621743"/>
              <a:gd name="connsiteX38" fmla="*/ 5429297 w 5701820"/>
              <a:gd name="connsiteY38" fmla="*/ 3143910 h 3621743"/>
              <a:gd name="connsiteX39" fmla="*/ 5681407 w 5701820"/>
              <a:gd name="connsiteY39" fmla="*/ 3315802 h 3621743"/>
              <a:gd name="connsiteX40" fmla="*/ 5695935 w 5701820"/>
              <a:gd name="connsiteY40" fmla="*/ 3475616 h 362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701820" h="3621743">
                <a:moveTo>
                  <a:pt x="5695935" y="3475616"/>
                </a:moveTo>
                <a:cubicBezTo>
                  <a:pt x="5685016" y="3527326"/>
                  <a:pt x="5659215" y="3575284"/>
                  <a:pt x="5621177" y="3612919"/>
                </a:cubicBezTo>
                <a:lnTo>
                  <a:pt x="5610256" y="3621743"/>
                </a:lnTo>
                <a:lnTo>
                  <a:pt x="5169995" y="3515674"/>
                </a:lnTo>
                <a:lnTo>
                  <a:pt x="5151717" y="3435790"/>
                </a:lnTo>
                <a:cubicBezTo>
                  <a:pt x="5146210" y="3349106"/>
                  <a:pt x="5182201" y="3264235"/>
                  <a:pt x="5248809" y="3208371"/>
                </a:cubicBezTo>
                <a:cubicBezTo>
                  <a:pt x="5248809" y="3163964"/>
                  <a:pt x="5244512" y="3120992"/>
                  <a:pt x="5231621" y="3090909"/>
                </a:cubicBezTo>
                <a:cubicBezTo>
                  <a:pt x="5208700" y="3039344"/>
                  <a:pt x="5138512" y="2990639"/>
                  <a:pt x="5082645" y="2957694"/>
                </a:cubicBezTo>
                <a:cubicBezTo>
                  <a:pt x="4976645" y="2979180"/>
                  <a:pt x="4862052" y="2974882"/>
                  <a:pt x="4750320" y="2937639"/>
                </a:cubicBezTo>
                <a:cubicBezTo>
                  <a:pt x="4675834" y="2911856"/>
                  <a:pt x="4608508" y="2876045"/>
                  <a:pt x="4551211" y="2830207"/>
                </a:cubicBezTo>
                <a:cubicBezTo>
                  <a:pt x="4419427" y="2824477"/>
                  <a:pt x="4260425" y="2830207"/>
                  <a:pt x="4167316" y="2878909"/>
                </a:cubicBezTo>
                <a:cubicBezTo>
                  <a:pt x="4083519" y="2921884"/>
                  <a:pt x="4007778" y="3029316"/>
                  <a:pt x="3950973" y="3131712"/>
                </a:cubicBezTo>
                <a:lnTo>
                  <a:pt x="3909945" y="3212100"/>
                </a:lnTo>
                <a:lnTo>
                  <a:pt x="0" y="2270107"/>
                </a:lnTo>
                <a:lnTo>
                  <a:pt x="7177" y="2227740"/>
                </a:lnTo>
                <a:cubicBezTo>
                  <a:pt x="14967" y="2192591"/>
                  <a:pt x="24608" y="2157501"/>
                  <a:pt x="36157" y="2122586"/>
                </a:cubicBezTo>
                <a:cubicBezTo>
                  <a:pt x="140724" y="1808883"/>
                  <a:pt x="377079" y="1575395"/>
                  <a:pt x="663566" y="1463668"/>
                </a:cubicBezTo>
                <a:cubicBezTo>
                  <a:pt x="730892" y="1363396"/>
                  <a:pt x="801080" y="1218720"/>
                  <a:pt x="803945" y="1048261"/>
                </a:cubicBezTo>
                <a:cubicBezTo>
                  <a:pt x="803945" y="1029640"/>
                  <a:pt x="802513" y="1011017"/>
                  <a:pt x="801080" y="993828"/>
                </a:cubicBezTo>
                <a:cubicBezTo>
                  <a:pt x="594810" y="942261"/>
                  <a:pt x="437241" y="763207"/>
                  <a:pt x="421484" y="539749"/>
                </a:cubicBezTo>
                <a:cubicBezTo>
                  <a:pt x="402861" y="261855"/>
                  <a:pt x="611998" y="21208"/>
                  <a:pt x="889892" y="1153"/>
                </a:cubicBezTo>
                <a:cubicBezTo>
                  <a:pt x="1167785" y="-17468"/>
                  <a:pt x="1408436" y="191667"/>
                  <a:pt x="1428490" y="469558"/>
                </a:cubicBezTo>
                <a:cubicBezTo>
                  <a:pt x="1444246" y="697316"/>
                  <a:pt x="1305299" y="900720"/>
                  <a:pt x="1101893" y="976640"/>
                </a:cubicBezTo>
                <a:cubicBezTo>
                  <a:pt x="1097596" y="1005289"/>
                  <a:pt x="1096164" y="1033938"/>
                  <a:pt x="1099029" y="1059722"/>
                </a:cubicBezTo>
                <a:cubicBezTo>
                  <a:pt x="1110488" y="1181478"/>
                  <a:pt x="1225084" y="1327587"/>
                  <a:pt x="1315328" y="1426423"/>
                </a:cubicBezTo>
                <a:cubicBezTo>
                  <a:pt x="1338245" y="1432154"/>
                  <a:pt x="1361166" y="1439316"/>
                  <a:pt x="1382651" y="1446478"/>
                </a:cubicBezTo>
                <a:cubicBezTo>
                  <a:pt x="1836735" y="1596884"/>
                  <a:pt x="2121792" y="2023748"/>
                  <a:pt x="2113196" y="2477829"/>
                </a:cubicBezTo>
                <a:cubicBezTo>
                  <a:pt x="2181953" y="2533695"/>
                  <a:pt x="2265036" y="2583828"/>
                  <a:pt x="2358144" y="2619639"/>
                </a:cubicBezTo>
                <a:cubicBezTo>
                  <a:pt x="2461279" y="2658315"/>
                  <a:pt x="2558685" y="2674073"/>
                  <a:pt x="2644631" y="2674073"/>
                </a:cubicBezTo>
                <a:cubicBezTo>
                  <a:pt x="2836578" y="2490721"/>
                  <a:pt x="3120203" y="2417666"/>
                  <a:pt x="3389502" y="2506477"/>
                </a:cubicBezTo>
                <a:cubicBezTo>
                  <a:pt x="3468287" y="2532262"/>
                  <a:pt x="3539907" y="2570939"/>
                  <a:pt x="3602936" y="2618207"/>
                </a:cubicBezTo>
                <a:cubicBezTo>
                  <a:pt x="3724692" y="2648289"/>
                  <a:pt x="3898017" y="2665477"/>
                  <a:pt x="4068478" y="2601019"/>
                </a:cubicBezTo>
                <a:cubicBezTo>
                  <a:pt x="4185940" y="2556612"/>
                  <a:pt x="4260425" y="2477830"/>
                  <a:pt x="4307695" y="2399045"/>
                </a:cubicBezTo>
                <a:cubicBezTo>
                  <a:pt x="4296236" y="2305936"/>
                  <a:pt x="4304830" y="2209965"/>
                  <a:pt x="4336345" y="2115423"/>
                </a:cubicBezTo>
                <a:cubicBezTo>
                  <a:pt x="4449507" y="1773072"/>
                  <a:pt x="4817646" y="1588287"/>
                  <a:pt x="5158565" y="1701452"/>
                </a:cubicBezTo>
                <a:cubicBezTo>
                  <a:pt x="5500919" y="1814613"/>
                  <a:pt x="5685704" y="2182748"/>
                  <a:pt x="5572541" y="2523667"/>
                </a:cubicBezTo>
                <a:cubicBezTo>
                  <a:pt x="5535298" y="2638262"/>
                  <a:pt x="5467973" y="2734234"/>
                  <a:pt x="5383459" y="2808721"/>
                </a:cubicBezTo>
                <a:cubicBezTo>
                  <a:pt x="5364838" y="2868883"/>
                  <a:pt x="5346215" y="2959127"/>
                  <a:pt x="5374864" y="3050803"/>
                </a:cubicBezTo>
                <a:cubicBezTo>
                  <a:pt x="5387756" y="3090910"/>
                  <a:pt x="5406378" y="3120991"/>
                  <a:pt x="5429297" y="3143910"/>
                </a:cubicBezTo>
                <a:cubicBezTo>
                  <a:pt x="5536731" y="3145342"/>
                  <a:pt x="5638434" y="3209803"/>
                  <a:pt x="5681407" y="3315802"/>
                </a:cubicBezTo>
                <a:cubicBezTo>
                  <a:pt x="5702893" y="3368444"/>
                  <a:pt x="5706855" y="3423905"/>
                  <a:pt x="5695935" y="3475616"/>
                </a:cubicBezTo>
                <a:close/>
              </a:path>
            </a:pathLst>
          </a:custGeom>
          <a:solidFill>
            <a:srgbClr val="FAFAFA"/>
          </a:solidFill>
          <a:ln w="686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FFE3FE6E-F0D6-7F90-C5D3-8E15D36B6FC4}"/>
              </a:ext>
            </a:extLst>
          </p:cNvPr>
          <p:cNvSpPr/>
          <p:nvPr userDrawn="1"/>
        </p:nvSpPr>
        <p:spPr>
          <a:xfrm rot="2461259">
            <a:off x="-158310" y="5078368"/>
            <a:ext cx="3130597" cy="1932836"/>
          </a:xfrm>
          <a:custGeom>
            <a:avLst/>
            <a:gdLst>
              <a:gd name="connsiteX0" fmla="*/ 537593 w 3130597"/>
              <a:gd name="connsiteY0" fmla="*/ 60168 h 1932836"/>
              <a:gd name="connsiteX1" fmla="*/ 705492 w 3130597"/>
              <a:gd name="connsiteY1" fmla="*/ 339 h 1932836"/>
              <a:gd name="connsiteX2" fmla="*/ 926824 w 3130597"/>
              <a:gd name="connsiteY2" fmla="*/ 243804 h 1932836"/>
              <a:gd name="connsiteX3" fmla="*/ 755293 w 3130597"/>
              <a:gd name="connsiteY3" fmla="*/ 456835 h 1932836"/>
              <a:gd name="connsiteX4" fmla="*/ 726244 w 3130597"/>
              <a:gd name="connsiteY4" fmla="*/ 552283 h 1932836"/>
              <a:gd name="connsiteX5" fmla="*/ 784343 w 3130597"/>
              <a:gd name="connsiteY5" fmla="*/ 694767 h 1932836"/>
              <a:gd name="connsiteX6" fmla="*/ 1203488 w 3130597"/>
              <a:gd name="connsiteY6" fmla="*/ 1050279 h 1932836"/>
              <a:gd name="connsiteX7" fmla="*/ 1471852 w 3130597"/>
              <a:gd name="connsiteY7" fmla="*/ 1118062 h 1932836"/>
              <a:gd name="connsiteX8" fmla="*/ 1676584 w 3130597"/>
              <a:gd name="connsiteY8" fmla="*/ 1040594 h 1932836"/>
              <a:gd name="connsiteX9" fmla="*/ 2524558 w 3130597"/>
              <a:gd name="connsiteY9" fmla="*/ 447153 h 1932836"/>
              <a:gd name="connsiteX10" fmla="*/ 3098213 w 3130597"/>
              <a:gd name="connsiteY10" fmla="*/ 653147 h 1932836"/>
              <a:gd name="connsiteX11" fmla="*/ 3130597 w 3130597"/>
              <a:gd name="connsiteY11" fmla="*/ 682581 h 1932836"/>
              <a:gd name="connsiteX12" fmla="*/ 1780906 w 3130597"/>
              <a:gd name="connsiteY12" fmla="*/ 1856718 h 1932836"/>
              <a:gd name="connsiteX13" fmla="*/ 1755605 w 3130597"/>
              <a:gd name="connsiteY13" fmla="*/ 1820744 h 1932836"/>
              <a:gd name="connsiteX14" fmla="*/ 1662750 w 3130597"/>
              <a:gd name="connsiteY14" fmla="*/ 1616055 h 1932836"/>
              <a:gd name="connsiteX15" fmla="*/ 1427586 w 3130597"/>
              <a:gd name="connsiteY15" fmla="*/ 1567641 h 1932836"/>
              <a:gd name="connsiteX16" fmla="*/ 1182737 w 3130597"/>
              <a:gd name="connsiteY16" fmla="*/ 1600840 h 1932836"/>
              <a:gd name="connsiteX17" fmla="*/ 628028 w 3130597"/>
              <a:gd name="connsiteY17" fmla="*/ 1932836 h 1932836"/>
              <a:gd name="connsiteX18" fmla="*/ 532810 w 3130597"/>
              <a:gd name="connsiteY18" fmla="*/ 1923256 h 1932836"/>
              <a:gd name="connsiteX19" fmla="*/ 679 w 3130597"/>
              <a:gd name="connsiteY19" fmla="*/ 1311563 h 1932836"/>
              <a:gd name="connsiteX20" fmla="*/ 0 w 3130597"/>
              <a:gd name="connsiteY20" fmla="*/ 1304811 h 1932836"/>
              <a:gd name="connsiteX21" fmla="*/ 536729 w 3130597"/>
              <a:gd name="connsiteY21" fmla="*/ 683698 h 1932836"/>
              <a:gd name="connsiteX22" fmla="*/ 603127 w 3130597"/>
              <a:gd name="connsiteY22" fmla="*/ 532918 h 1932836"/>
              <a:gd name="connsiteX23" fmla="*/ 594828 w 3130597"/>
              <a:gd name="connsiteY23" fmla="*/ 443001 h 1932836"/>
              <a:gd name="connsiteX24" fmla="*/ 462030 w 3130597"/>
              <a:gd name="connsiteY24" fmla="*/ 221671 h 1932836"/>
              <a:gd name="connsiteX25" fmla="*/ 537593 w 3130597"/>
              <a:gd name="connsiteY25" fmla="*/ 60168 h 193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130597" h="1932836">
                <a:moveTo>
                  <a:pt x="537593" y="60168"/>
                </a:moveTo>
                <a:cubicBezTo>
                  <a:pt x="581686" y="20052"/>
                  <a:pt x="641169" y="-3118"/>
                  <a:pt x="705492" y="339"/>
                </a:cubicBezTo>
                <a:cubicBezTo>
                  <a:pt x="834142" y="5872"/>
                  <a:pt x="933742" y="115154"/>
                  <a:pt x="926824" y="243804"/>
                </a:cubicBezTo>
                <a:cubicBezTo>
                  <a:pt x="922672" y="347553"/>
                  <a:pt x="850741" y="431934"/>
                  <a:pt x="755293" y="456835"/>
                </a:cubicBezTo>
                <a:cubicBezTo>
                  <a:pt x="738694" y="490034"/>
                  <a:pt x="726244" y="524617"/>
                  <a:pt x="726244" y="552283"/>
                </a:cubicBezTo>
                <a:cubicBezTo>
                  <a:pt x="726243" y="595167"/>
                  <a:pt x="755293" y="650499"/>
                  <a:pt x="784343" y="694767"/>
                </a:cubicBezTo>
                <a:cubicBezTo>
                  <a:pt x="972474" y="743181"/>
                  <a:pt x="1126021" y="875980"/>
                  <a:pt x="1203488" y="1050279"/>
                </a:cubicBezTo>
                <a:cubicBezTo>
                  <a:pt x="1304470" y="1093161"/>
                  <a:pt x="1402686" y="1123595"/>
                  <a:pt x="1471852" y="1118062"/>
                </a:cubicBezTo>
                <a:cubicBezTo>
                  <a:pt x="1541018" y="1113912"/>
                  <a:pt x="1612949" y="1080711"/>
                  <a:pt x="1676584" y="1040594"/>
                </a:cubicBezTo>
                <a:cubicBezTo>
                  <a:pt x="1802466" y="694767"/>
                  <a:pt x="2134462" y="447153"/>
                  <a:pt x="2524558" y="447153"/>
                </a:cubicBezTo>
                <a:cubicBezTo>
                  <a:pt x="2742430" y="447153"/>
                  <a:pt x="2942298" y="524467"/>
                  <a:pt x="3098213" y="653147"/>
                </a:cubicBezTo>
                <a:lnTo>
                  <a:pt x="3130597" y="682581"/>
                </a:lnTo>
                <a:lnTo>
                  <a:pt x="1780906" y="1856718"/>
                </a:lnTo>
                <a:lnTo>
                  <a:pt x="1755605" y="1820744"/>
                </a:lnTo>
                <a:cubicBezTo>
                  <a:pt x="1716613" y="1757328"/>
                  <a:pt x="1685229" y="1688680"/>
                  <a:pt x="1662750" y="1616055"/>
                </a:cubicBezTo>
                <a:cubicBezTo>
                  <a:pt x="1592200" y="1589773"/>
                  <a:pt x="1511968" y="1571790"/>
                  <a:pt x="1427586" y="1567641"/>
                </a:cubicBezTo>
                <a:cubicBezTo>
                  <a:pt x="1334904" y="1563489"/>
                  <a:pt x="1251903" y="1578707"/>
                  <a:pt x="1182737" y="1600840"/>
                </a:cubicBezTo>
                <a:cubicBezTo>
                  <a:pt x="1076223" y="1798656"/>
                  <a:pt x="868725" y="1932836"/>
                  <a:pt x="628028" y="1932836"/>
                </a:cubicBezTo>
                <a:lnTo>
                  <a:pt x="532810" y="1923256"/>
                </a:lnTo>
                <a:lnTo>
                  <a:pt x="679" y="1311563"/>
                </a:lnTo>
                <a:lnTo>
                  <a:pt x="0" y="1304811"/>
                </a:lnTo>
                <a:cubicBezTo>
                  <a:pt x="0" y="989412"/>
                  <a:pt x="233780" y="727966"/>
                  <a:pt x="536729" y="683698"/>
                </a:cubicBezTo>
                <a:cubicBezTo>
                  <a:pt x="565779" y="644966"/>
                  <a:pt x="594828" y="593783"/>
                  <a:pt x="603127" y="532918"/>
                </a:cubicBezTo>
                <a:cubicBezTo>
                  <a:pt x="607276" y="499716"/>
                  <a:pt x="603127" y="469285"/>
                  <a:pt x="594828" y="443001"/>
                </a:cubicBezTo>
                <a:cubicBezTo>
                  <a:pt x="511828" y="404268"/>
                  <a:pt x="457878" y="318503"/>
                  <a:pt x="462030" y="221671"/>
                </a:cubicBezTo>
                <a:cubicBezTo>
                  <a:pt x="464796" y="157347"/>
                  <a:pt x="493500" y="100285"/>
                  <a:pt x="537593" y="60168"/>
                </a:cubicBezTo>
                <a:close/>
              </a:path>
            </a:pathLst>
          </a:custGeom>
          <a:solidFill>
            <a:srgbClr val="FAFAFA"/>
          </a:solidFill>
          <a:ln w="5184" cap="flat">
            <a:noFill/>
            <a:prstDash val="solid"/>
            <a:miter/>
          </a:ln>
        </p:spPr>
        <p:txBody>
          <a:bodyPr rtlCol="0" anchor="ctr"/>
          <a:lstStyle/>
          <a:p>
            <a:pPr marL="0" indent="0">
              <a:buFont typeface="Arial" panose="020B0604020202020204" pitchFamily="34" charset="0"/>
              <a:buNone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 userDrawn="1">
            <p:ph type="title" hasCustomPrompt="1"/>
          </p:nvPr>
        </p:nvSpPr>
        <p:spPr>
          <a:xfrm>
            <a:off x="704626" y="336933"/>
            <a:ext cx="8592180" cy="769939"/>
          </a:xfrm>
        </p:spPr>
        <p:txBody>
          <a:bodyPr l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>
                <a:latin typeface="DIN Pro" panose="020B0504020201010104" pitchFamily="34" charset="0"/>
                <a:cs typeface="DIN Pro" panose="020B0504020201010104" pitchFamily="34" charset="0"/>
              </a:defRPr>
            </a:lvl1pPr>
          </a:lstStyle>
          <a:p>
            <a:r>
              <a:rPr lang="fr-FR"/>
              <a:t>Titre</a:t>
            </a:r>
            <a:endParaRPr lang="en-US"/>
          </a:p>
        </p:txBody>
      </p:sp>
      <p:pic>
        <p:nvPicPr>
          <p:cNvPr id="10" name="Picture 20" descr="Logo&#10;&#10;Description automatically generated">
            <a:extLst>
              <a:ext uri="{FF2B5EF4-FFF2-40B4-BE49-F238E27FC236}">
                <a16:creationId xmlns:a16="http://schemas.microsoft.com/office/drawing/2014/main" id="{90140ECB-8934-4E91-B515-2CC41CD574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41754" y="193018"/>
            <a:ext cx="2237669" cy="538816"/>
          </a:xfrm>
          <a:prstGeom prst="rect">
            <a:avLst/>
          </a:prstGeom>
        </p:spPr>
      </p:pic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28ACE1AF-F452-E27C-E906-644C7140C78C}"/>
              </a:ext>
            </a:extLst>
          </p:cNvPr>
          <p:cNvSpPr txBox="1">
            <a:spLocks/>
          </p:cNvSpPr>
          <p:nvPr userDrawn="1"/>
        </p:nvSpPr>
        <p:spPr>
          <a:xfrm>
            <a:off x="11550065" y="6363269"/>
            <a:ext cx="423994" cy="365125"/>
          </a:xfrm>
          <a:prstGeom prst="rect">
            <a:avLst/>
          </a:prstGeom>
        </p:spPr>
        <p:txBody>
          <a:bodyPr vert="horz" lIns="103146" tIns="51572" rIns="103146" bIns="51572" rtlCol="0" anchor="ctr"/>
          <a:lstStyle>
            <a:defPPr>
              <a:defRPr lang="fr-FR"/>
            </a:defPPr>
            <a:lvl1pPr marL="0" algn="r" defTabSz="515731" rtl="0" eaLnBrk="1" latinLnBrk="0" hangingPunct="1">
              <a:defRPr sz="900" kern="1200">
                <a:solidFill>
                  <a:srgbClr val="E4011A"/>
                </a:solidFill>
                <a:latin typeface="DIN Pro Bold" panose="020B0504020101020102" pitchFamily="34" charset="0"/>
                <a:ea typeface="+mn-ea"/>
                <a:cs typeface="DIN Pro Bold" panose="020B0504020101020102" pitchFamily="34" charset="0"/>
              </a:defRPr>
            </a:lvl1pPr>
            <a:lvl2pPr marL="515731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461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192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2923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8653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384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115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5845" algn="l" defTabSz="51573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fld id="{13B70511-1DFE-C545-80D4-88B4349D33AA}" type="slidenum">
              <a:rPr lang="en-US" smtClean="0"/>
              <a:pPr marL="0" indent="0">
                <a:buFont typeface="Arial" panose="020B0604020202020204" pitchFamily="34" charset="0"/>
                <a:buNone/>
              </a:pPr>
              <a:t>‹#›</a:t>
            </a:fld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89A9052-CB9A-96B4-6B0D-416BE926872B}"/>
              </a:ext>
            </a:extLst>
          </p:cNvPr>
          <p:cNvSpPr/>
          <p:nvPr userDrawn="1"/>
        </p:nvSpPr>
        <p:spPr>
          <a:xfrm rot="2305930">
            <a:off x="-298322" y="317822"/>
            <a:ext cx="942164" cy="877532"/>
          </a:xfrm>
          <a:custGeom>
            <a:avLst/>
            <a:gdLst>
              <a:gd name="connsiteX0" fmla="*/ 1811512 w 1936340"/>
              <a:gd name="connsiteY0" fmla="*/ 1449829 h 1803509"/>
              <a:gd name="connsiteX1" fmla="*/ 1696342 w 1936340"/>
              <a:gd name="connsiteY1" fmla="*/ 1527104 h 1803509"/>
              <a:gd name="connsiteX2" fmla="*/ 1648045 w 1936340"/>
              <a:gd name="connsiteY2" fmla="*/ 1533791 h 1803509"/>
              <a:gd name="connsiteX3" fmla="*/ 1549964 w 1936340"/>
              <a:gd name="connsiteY3" fmla="*/ 1489952 h 1803509"/>
              <a:gd name="connsiteX4" fmla="*/ 1408045 w 1936340"/>
              <a:gd name="connsiteY4" fmla="*/ 1356207 h 1803509"/>
              <a:gd name="connsiteX5" fmla="*/ 1408788 w 1936340"/>
              <a:gd name="connsiteY5" fmla="*/ 1331688 h 1803509"/>
              <a:gd name="connsiteX6" fmla="*/ 1451141 w 1936340"/>
              <a:gd name="connsiteY6" fmla="*/ 1200172 h 1803509"/>
              <a:gd name="connsiteX7" fmla="*/ 1840490 w 1936340"/>
              <a:gd name="connsiteY7" fmla="*/ 724634 h 1803509"/>
              <a:gd name="connsiteX8" fmla="*/ 1356033 w 1936340"/>
              <a:gd name="connsiteY8" fmla="*/ 240180 h 1803509"/>
              <a:gd name="connsiteX9" fmla="*/ 900555 w 1936340"/>
              <a:gd name="connsiteY9" fmla="*/ 558939 h 1803509"/>
              <a:gd name="connsiteX10" fmla="*/ 790586 w 1936340"/>
              <a:gd name="connsiteY10" fmla="*/ 600549 h 1803509"/>
              <a:gd name="connsiteX11" fmla="*/ 646438 w 1936340"/>
              <a:gd name="connsiteY11" fmla="*/ 564140 h 1803509"/>
              <a:gd name="connsiteX12" fmla="*/ 421299 w 1936340"/>
              <a:gd name="connsiteY12" fmla="*/ 373182 h 1803509"/>
              <a:gd name="connsiteX13" fmla="*/ 390092 w 1936340"/>
              <a:gd name="connsiteY13" fmla="*/ 296650 h 1803509"/>
              <a:gd name="connsiteX14" fmla="*/ 405695 w 1936340"/>
              <a:gd name="connsiteY14" fmla="*/ 245381 h 1803509"/>
              <a:gd name="connsiteX15" fmla="*/ 497831 w 1936340"/>
              <a:gd name="connsiteY15" fmla="*/ 130955 h 1803509"/>
              <a:gd name="connsiteX16" fmla="*/ 378946 w 1936340"/>
              <a:gd name="connsiteY16" fmla="*/ 182 h 1803509"/>
              <a:gd name="connsiteX17" fmla="*/ 378946 w 1936340"/>
              <a:gd name="connsiteY17" fmla="*/ 182 h 1803509"/>
              <a:gd name="connsiteX18" fmla="*/ 248173 w 1936340"/>
              <a:gd name="connsiteY18" fmla="*/ 119067 h 1803509"/>
              <a:gd name="connsiteX19" fmla="*/ 319504 w 1936340"/>
              <a:gd name="connsiteY19" fmla="*/ 237951 h 1803509"/>
              <a:gd name="connsiteX20" fmla="*/ 323962 w 1936340"/>
              <a:gd name="connsiteY20" fmla="*/ 286248 h 1803509"/>
              <a:gd name="connsiteX21" fmla="*/ 288296 w 1936340"/>
              <a:gd name="connsiteY21" fmla="*/ 367238 h 1803509"/>
              <a:gd name="connsiteX22" fmla="*/ 0 w 1936340"/>
              <a:gd name="connsiteY22" fmla="*/ 700857 h 1803509"/>
              <a:gd name="connsiteX23" fmla="*/ 337336 w 1936340"/>
              <a:gd name="connsiteY23" fmla="*/ 1038192 h 1803509"/>
              <a:gd name="connsiteX24" fmla="*/ 635292 w 1936340"/>
              <a:gd name="connsiteY24" fmla="*/ 859865 h 1803509"/>
              <a:gd name="connsiteX25" fmla="*/ 766809 w 1936340"/>
              <a:gd name="connsiteY25" fmla="*/ 842033 h 1803509"/>
              <a:gd name="connsiteX26" fmla="*/ 893124 w 1936340"/>
              <a:gd name="connsiteY26" fmla="*/ 868038 h 1803509"/>
              <a:gd name="connsiteX27" fmla="*/ 1223030 w 1936340"/>
              <a:gd name="connsiteY27" fmla="*/ 1190512 h 1803509"/>
              <a:gd name="connsiteX28" fmla="*/ 1275043 w 1936340"/>
              <a:gd name="connsiteY28" fmla="*/ 1316084 h 1803509"/>
              <a:gd name="connsiteX29" fmla="*/ 1271327 w 1936340"/>
              <a:gd name="connsiteY29" fmla="*/ 1353978 h 1803509"/>
              <a:gd name="connsiteX30" fmla="*/ 1107118 w 1936340"/>
              <a:gd name="connsiteY30" fmla="*/ 1573915 h 1803509"/>
              <a:gd name="connsiteX31" fmla="*/ 1336714 w 1936340"/>
              <a:gd name="connsiteY31" fmla="*/ 1803510 h 1803509"/>
              <a:gd name="connsiteX32" fmla="*/ 1555909 w 1936340"/>
              <a:gd name="connsiteY32" fmla="*/ 1641530 h 1803509"/>
              <a:gd name="connsiteX33" fmla="*/ 1640614 w 1936340"/>
              <a:gd name="connsiteY33" fmla="*/ 1599177 h 1803509"/>
              <a:gd name="connsiteX34" fmla="*/ 1692627 w 1936340"/>
              <a:gd name="connsiteY34" fmla="*/ 1611809 h 1803509"/>
              <a:gd name="connsiteX35" fmla="*/ 1811512 w 1936340"/>
              <a:gd name="connsiteY35" fmla="*/ 1698000 h 1803509"/>
              <a:gd name="connsiteX36" fmla="*/ 1936341 w 1936340"/>
              <a:gd name="connsiteY36" fmla="*/ 1573171 h 1803509"/>
              <a:gd name="connsiteX37" fmla="*/ 1936341 w 1936340"/>
              <a:gd name="connsiteY37" fmla="*/ 1573171 h 1803509"/>
              <a:gd name="connsiteX38" fmla="*/ 1811512 w 1936340"/>
              <a:gd name="connsiteY38" fmla="*/ 1449829 h 1803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936340" h="1803509">
                <a:moveTo>
                  <a:pt x="1811512" y="1449829"/>
                </a:moveTo>
                <a:cubicBezTo>
                  <a:pt x="1759499" y="1449829"/>
                  <a:pt x="1714918" y="1481779"/>
                  <a:pt x="1696342" y="1527104"/>
                </a:cubicBezTo>
                <a:cubicBezTo>
                  <a:pt x="1682224" y="1532305"/>
                  <a:pt x="1666620" y="1535277"/>
                  <a:pt x="1648045" y="1533791"/>
                </a:cubicBezTo>
                <a:cubicBezTo>
                  <a:pt x="1605692" y="1530076"/>
                  <a:pt x="1571512" y="1508528"/>
                  <a:pt x="1549964" y="1489952"/>
                </a:cubicBezTo>
                <a:cubicBezTo>
                  <a:pt x="1524702" y="1426795"/>
                  <a:pt x="1472689" y="1377755"/>
                  <a:pt x="1408045" y="1356207"/>
                </a:cubicBezTo>
                <a:cubicBezTo>
                  <a:pt x="1408045" y="1348034"/>
                  <a:pt x="1408045" y="1339861"/>
                  <a:pt x="1408788" y="1331688"/>
                </a:cubicBezTo>
                <a:cubicBezTo>
                  <a:pt x="1413247" y="1281162"/>
                  <a:pt x="1430336" y="1236580"/>
                  <a:pt x="1451141" y="1200172"/>
                </a:cubicBezTo>
                <a:cubicBezTo>
                  <a:pt x="1673308" y="1156333"/>
                  <a:pt x="1840490" y="960174"/>
                  <a:pt x="1840490" y="724634"/>
                </a:cubicBezTo>
                <a:cubicBezTo>
                  <a:pt x="1840490" y="457144"/>
                  <a:pt x="1623525" y="240180"/>
                  <a:pt x="1356033" y="240180"/>
                </a:cubicBezTo>
                <a:cubicBezTo>
                  <a:pt x="1146498" y="240180"/>
                  <a:pt x="968170" y="373182"/>
                  <a:pt x="900555" y="558939"/>
                </a:cubicBezTo>
                <a:cubicBezTo>
                  <a:pt x="866375" y="580487"/>
                  <a:pt x="827737" y="598319"/>
                  <a:pt x="790586" y="600549"/>
                </a:cubicBezTo>
                <a:cubicBezTo>
                  <a:pt x="753434" y="603521"/>
                  <a:pt x="700679" y="587174"/>
                  <a:pt x="646438" y="564140"/>
                </a:cubicBezTo>
                <a:cubicBezTo>
                  <a:pt x="604828" y="470519"/>
                  <a:pt x="522351" y="399188"/>
                  <a:pt x="421299" y="373182"/>
                </a:cubicBezTo>
                <a:cubicBezTo>
                  <a:pt x="405695" y="349405"/>
                  <a:pt x="390092" y="319684"/>
                  <a:pt x="390092" y="296650"/>
                </a:cubicBezTo>
                <a:cubicBezTo>
                  <a:pt x="390092" y="281790"/>
                  <a:pt x="396779" y="263214"/>
                  <a:pt x="405695" y="245381"/>
                </a:cubicBezTo>
                <a:cubicBezTo>
                  <a:pt x="456965" y="232007"/>
                  <a:pt x="495602" y="186682"/>
                  <a:pt x="497831" y="130955"/>
                </a:cubicBezTo>
                <a:cubicBezTo>
                  <a:pt x="501547" y="61854"/>
                  <a:pt x="448048" y="3154"/>
                  <a:pt x="378946" y="182"/>
                </a:cubicBezTo>
                <a:lnTo>
                  <a:pt x="378946" y="182"/>
                </a:lnTo>
                <a:cubicBezTo>
                  <a:pt x="309844" y="-3533"/>
                  <a:pt x="251145" y="49965"/>
                  <a:pt x="248173" y="119067"/>
                </a:cubicBezTo>
                <a:cubicBezTo>
                  <a:pt x="245943" y="171079"/>
                  <a:pt x="274922" y="217146"/>
                  <a:pt x="319504" y="237951"/>
                </a:cubicBezTo>
                <a:cubicBezTo>
                  <a:pt x="323962" y="252069"/>
                  <a:pt x="326191" y="268415"/>
                  <a:pt x="323962" y="286248"/>
                </a:cubicBezTo>
                <a:cubicBezTo>
                  <a:pt x="319504" y="318941"/>
                  <a:pt x="303900" y="346433"/>
                  <a:pt x="288296" y="367238"/>
                </a:cubicBezTo>
                <a:cubicBezTo>
                  <a:pt x="125572" y="391015"/>
                  <a:pt x="0" y="531447"/>
                  <a:pt x="0" y="700857"/>
                </a:cubicBezTo>
                <a:cubicBezTo>
                  <a:pt x="0" y="887357"/>
                  <a:pt x="150835" y="1038192"/>
                  <a:pt x="337336" y="1038192"/>
                </a:cubicBezTo>
                <a:cubicBezTo>
                  <a:pt x="466624" y="1038192"/>
                  <a:pt x="578079" y="966118"/>
                  <a:pt x="635292" y="859865"/>
                </a:cubicBezTo>
                <a:cubicBezTo>
                  <a:pt x="672444" y="847977"/>
                  <a:pt x="717026" y="839803"/>
                  <a:pt x="766809" y="842033"/>
                </a:cubicBezTo>
                <a:cubicBezTo>
                  <a:pt x="812134" y="844261"/>
                  <a:pt x="855230" y="853921"/>
                  <a:pt x="893124" y="868038"/>
                </a:cubicBezTo>
                <a:cubicBezTo>
                  <a:pt x="941422" y="1024074"/>
                  <a:pt x="1066251" y="1145931"/>
                  <a:pt x="1223030" y="1190512"/>
                </a:cubicBezTo>
                <a:cubicBezTo>
                  <a:pt x="1250523" y="1231379"/>
                  <a:pt x="1274300" y="1277447"/>
                  <a:pt x="1275043" y="1316084"/>
                </a:cubicBezTo>
                <a:cubicBezTo>
                  <a:pt x="1275043" y="1327972"/>
                  <a:pt x="1273556" y="1340604"/>
                  <a:pt x="1271327" y="1353978"/>
                </a:cubicBezTo>
                <a:cubicBezTo>
                  <a:pt x="1176219" y="1382213"/>
                  <a:pt x="1107118" y="1469891"/>
                  <a:pt x="1107118" y="1573915"/>
                </a:cubicBezTo>
                <a:cubicBezTo>
                  <a:pt x="1107118" y="1700972"/>
                  <a:pt x="1209656" y="1803510"/>
                  <a:pt x="1336714" y="1803510"/>
                </a:cubicBezTo>
                <a:cubicBezTo>
                  <a:pt x="1439996" y="1803510"/>
                  <a:pt x="1526931" y="1735151"/>
                  <a:pt x="1555909" y="1641530"/>
                </a:cubicBezTo>
                <a:cubicBezTo>
                  <a:pt x="1579686" y="1622954"/>
                  <a:pt x="1613865" y="1599921"/>
                  <a:pt x="1640614" y="1599177"/>
                </a:cubicBezTo>
                <a:cubicBezTo>
                  <a:pt x="1655475" y="1598434"/>
                  <a:pt x="1674051" y="1604379"/>
                  <a:pt x="1692627" y="1611809"/>
                </a:cubicBezTo>
                <a:cubicBezTo>
                  <a:pt x="1708973" y="1662335"/>
                  <a:pt x="1755784" y="1698000"/>
                  <a:pt x="1811512" y="1698000"/>
                </a:cubicBezTo>
                <a:cubicBezTo>
                  <a:pt x="1880614" y="1698000"/>
                  <a:pt x="1936341" y="1642273"/>
                  <a:pt x="1936341" y="1573171"/>
                </a:cubicBezTo>
                <a:lnTo>
                  <a:pt x="1936341" y="1573171"/>
                </a:lnTo>
                <a:cubicBezTo>
                  <a:pt x="1936341" y="1506299"/>
                  <a:pt x="1880614" y="1449829"/>
                  <a:pt x="1811512" y="1449829"/>
                </a:cubicBezTo>
              </a:path>
            </a:pathLst>
          </a:custGeom>
          <a:solidFill>
            <a:schemeClr val="tx2"/>
          </a:solidFill>
          <a:ln w="6863" cap="flat">
            <a:noFill/>
            <a:prstDash val="solid"/>
            <a:miter/>
          </a:ln>
        </p:spPr>
        <p:txBody>
          <a:bodyPr rtlCol="0" anchor="ctr"/>
          <a:lstStyle/>
          <a:p>
            <a:pPr marL="0" indent="0">
              <a:buFont typeface="Arial" panose="020B0604020202020204" pitchFamily="34" charset="0"/>
              <a:buNone/>
            </a:pPr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44710B-A0E4-99C1-66D2-2A88706551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43911" y="6163992"/>
            <a:ext cx="554795" cy="564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110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507B6-F022-44D9-B1D5-FA1602356C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3FEE33-7C62-43C9-AD5B-1A86C413A6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515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B70511-1DFE-C545-80D4-88B4349D33A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F1C20"/>
                </a:solidFill>
                <a:effectLst/>
                <a:uLnTx/>
                <a:uFillTx/>
                <a:latin typeface="DINOT"/>
                <a:ea typeface="+mn-ea"/>
              </a:rPr>
              <a:pPr marL="0" marR="0" lvl="0" indent="0" algn="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F1C20"/>
              </a:solidFill>
              <a:effectLst/>
              <a:uLnTx/>
              <a:uFillTx/>
              <a:latin typeface="DINOT"/>
              <a:ea typeface="+mn-ea"/>
            </a:endParaRPr>
          </a:p>
        </p:txBody>
      </p:sp>
      <p:pic>
        <p:nvPicPr>
          <p:cNvPr id="5" name="Picture 20" descr="Logo&#10;&#10;Description automatically generated">
            <a:extLst>
              <a:ext uri="{FF2B5EF4-FFF2-40B4-BE49-F238E27FC236}">
                <a16:creationId xmlns:a16="http://schemas.microsoft.com/office/drawing/2014/main" id="{0698BAAB-E1DD-4C7E-A5EE-698E245B62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41754" y="193018"/>
            <a:ext cx="2237669" cy="53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645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71503-3725-596A-D5D6-698D317CF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71503-3725-596A-D5D6-698D317C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067BFC17-7DEE-85D0-D745-BBE0B349DB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2736" y="2118537"/>
            <a:ext cx="687644" cy="687644"/>
          </a:xfrm>
          <a:custGeom>
            <a:avLst/>
            <a:gdLst>
              <a:gd name="connsiteX0" fmla="*/ 343822 w 687644"/>
              <a:gd name="connsiteY0" fmla="*/ 0 h 687644"/>
              <a:gd name="connsiteX1" fmla="*/ 687644 w 687644"/>
              <a:gd name="connsiteY1" fmla="*/ 343822 h 687644"/>
              <a:gd name="connsiteX2" fmla="*/ 343822 w 687644"/>
              <a:gd name="connsiteY2" fmla="*/ 687644 h 687644"/>
              <a:gd name="connsiteX3" fmla="*/ 0 w 687644"/>
              <a:gd name="connsiteY3" fmla="*/ 343822 h 687644"/>
              <a:gd name="connsiteX4" fmla="*/ 343822 w 687644"/>
              <a:gd name="connsiteY4" fmla="*/ 0 h 68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644" h="687644">
                <a:moveTo>
                  <a:pt x="343822" y="0"/>
                </a:moveTo>
                <a:cubicBezTo>
                  <a:pt x="533710" y="0"/>
                  <a:pt x="687644" y="153934"/>
                  <a:pt x="687644" y="343822"/>
                </a:cubicBezTo>
                <a:cubicBezTo>
                  <a:pt x="687644" y="533710"/>
                  <a:pt x="533710" y="687644"/>
                  <a:pt x="343822" y="687644"/>
                </a:cubicBezTo>
                <a:cubicBezTo>
                  <a:pt x="153934" y="687644"/>
                  <a:pt x="0" y="533710"/>
                  <a:pt x="0" y="343822"/>
                </a:cubicBezTo>
                <a:cubicBezTo>
                  <a:pt x="0" y="153934"/>
                  <a:pt x="153934" y="0"/>
                  <a:pt x="343822" y="0"/>
                </a:cubicBezTo>
                <a:close/>
              </a:path>
            </a:pathLst>
          </a:custGeom>
          <a:ln w="12700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DIN Pro" panose="020B0504020201010104" pitchFamily="34" charset="0"/>
              </a:defRPr>
            </a:lvl1pPr>
          </a:lstStyle>
          <a:p>
            <a:pPr lvl="0"/>
            <a:r>
              <a:rPr lang="vi-VN"/>
              <a:t> </a:t>
            </a:r>
            <a:endParaRPr lang="fr-FR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29CA4F5-6DB5-662D-E0FD-59D34FF2D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6589" t="46108" r="45785" b="46206"/>
          <a:stretch/>
        </p:blipFill>
        <p:spPr>
          <a:xfrm>
            <a:off x="0" y="0"/>
            <a:ext cx="4848448" cy="1417320"/>
          </a:xfrm>
          <a:custGeom>
            <a:avLst/>
            <a:gdLst>
              <a:gd name="connsiteX0" fmla="*/ 0 w 4848448"/>
              <a:gd name="connsiteY0" fmla="*/ 0 h 1417320"/>
              <a:gd name="connsiteX1" fmla="*/ 4848448 w 4848448"/>
              <a:gd name="connsiteY1" fmla="*/ 0 h 1417320"/>
              <a:gd name="connsiteX2" fmla="*/ 4848448 w 4848448"/>
              <a:gd name="connsiteY2" fmla="*/ 971 h 1417320"/>
              <a:gd name="connsiteX3" fmla="*/ 4832424 w 4848448"/>
              <a:gd name="connsiteY3" fmla="*/ 1168 h 1417320"/>
              <a:gd name="connsiteX4" fmla="*/ 0 w 4848448"/>
              <a:gd name="connsiteY4" fmla="*/ 141732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48448" h="1417320">
                <a:moveTo>
                  <a:pt x="0" y="0"/>
                </a:moveTo>
                <a:lnTo>
                  <a:pt x="4848448" y="0"/>
                </a:lnTo>
                <a:lnTo>
                  <a:pt x="4848448" y="971"/>
                </a:lnTo>
                <a:lnTo>
                  <a:pt x="4832424" y="1168"/>
                </a:lnTo>
                <a:cubicBezTo>
                  <a:pt x="4069409" y="12457"/>
                  <a:pt x="0" y="132874"/>
                  <a:pt x="0" y="1417320"/>
                </a:cubicBez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B767BC7-0BA2-5251-46D5-25FBE7595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039" t="32135" r="45785" b="44674"/>
          <a:stretch/>
        </p:blipFill>
        <p:spPr>
          <a:xfrm>
            <a:off x="6091824" y="2581651"/>
            <a:ext cx="6100178" cy="4276351"/>
          </a:xfrm>
          <a:custGeom>
            <a:avLst/>
            <a:gdLst>
              <a:gd name="connsiteX0" fmla="*/ 4521819 w 6100178"/>
              <a:gd name="connsiteY0" fmla="*/ 0 h 4276351"/>
              <a:gd name="connsiteX1" fmla="*/ 6079117 w 6100178"/>
              <a:gd name="connsiteY1" fmla="*/ 274832 h 4276351"/>
              <a:gd name="connsiteX2" fmla="*/ 6100178 w 6100178"/>
              <a:gd name="connsiteY2" fmla="*/ 283137 h 4276351"/>
              <a:gd name="connsiteX3" fmla="*/ 6100178 w 6100178"/>
              <a:gd name="connsiteY3" fmla="*/ 4276351 h 4276351"/>
              <a:gd name="connsiteX4" fmla="*/ 0 w 6100178"/>
              <a:gd name="connsiteY4" fmla="*/ 4276351 h 4276351"/>
              <a:gd name="connsiteX5" fmla="*/ 15984 w 6100178"/>
              <a:gd name="connsiteY5" fmla="*/ 4066133 h 4276351"/>
              <a:gd name="connsiteX6" fmla="*/ 4521819 w 6100178"/>
              <a:gd name="connsiteY6" fmla="*/ 0 h 4276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00178" h="4276351">
                <a:moveTo>
                  <a:pt x="4521819" y="0"/>
                </a:moveTo>
                <a:cubicBezTo>
                  <a:pt x="5069005" y="0"/>
                  <a:pt x="5593527" y="97034"/>
                  <a:pt x="6079117" y="274832"/>
                </a:cubicBezTo>
                <a:lnTo>
                  <a:pt x="6100178" y="283137"/>
                </a:lnTo>
                <a:lnTo>
                  <a:pt x="6100178" y="4276351"/>
                </a:lnTo>
                <a:lnTo>
                  <a:pt x="0" y="4276351"/>
                </a:lnTo>
                <a:lnTo>
                  <a:pt x="15984" y="4066133"/>
                </a:lnTo>
                <a:cubicBezTo>
                  <a:pt x="247926" y="1782247"/>
                  <a:pt x="2176740" y="0"/>
                  <a:pt x="4521819" y="0"/>
                </a:cubicBezTo>
                <a:close/>
              </a:path>
            </a:pathLst>
          </a:cu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79DE5EE-AA92-8875-9A8C-F4E9BEF4BB6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6666" y="6444729"/>
            <a:ext cx="1108835" cy="1817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006090-892A-E8CB-C168-352FB7E61477}"/>
              </a:ext>
            </a:extLst>
          </p:cNvPr>
          <p:cNvCxnSpPr>
            <a:cxnSpLocks/>
          </p:cNvCxnSpPr>
          <p:nvPr userDrawn="1"/>
        </p:nvCxnSpPr>
        <p:spPr>
          <a:xfrm>
            <a:off x="11505701" y="6430791"/>
            <a:ext cx="0" cy="20964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AF4223A-CA2A-39A8-761A-340718BFD5F2}"/>
              </a:ext>
            </a:extLst>
          </p:cNvPr>
          <p:cNvSpPr txBox="1"/>
          <p:nvPr userDrawn="1"/>
        </p:nvSpPr>
        <p:spPr>
          <a:xfrm>
            <a:off x="11645900" y="6458667"/>
            <a:ext cx="19076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/>
            <a:fld id="{AE835840-53EF-40D6-A91C-D7547F83E2B5}" type="slidenum">
              <a:rPr lang="fr-FR" sz="1000" smtClean="0">
                <a:solidFill>
                  <a:srgbClr val="3D3D3C"/>
                </a:solidFill>
              </a:rPr>
              <a:pPr algn="ctr" rtl="0"/>
              <a:t>‹#›</a:t>
            </a:fld>
            <a:endParaRPr lang="fr-FR" sz="1000">
              <a:solidFill>
                <a:srgbClr val="3D3D3C"/>
              </a:solidFill>
            </a:endParaRPr>
          </a:p>
        </p:txBody>
      </p:sp>
      <p:sp>
        <p:nvSpPr>
          <p:cNvPr id="25" name="Title 19">
            <a:extLst>
              <a:ext uri="{FF2B5EF4-FFF2-40B4-BE49-F238E27FC236}">
                <a16:creationId xmlns:a16="http://schemas.microsoft.com/office/drawing/2014/main" id="{32EC0726-BCB9-0691-00A4-36CBCEA8E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9667" y="391332"/>
            <a:ext cx="7351329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CECI EST LE TITRE DE LA </a:t>
            </a:r>
            <a:br>
              <a:rPr lang="fr-FR" dirty="0"/>
            </a:br>
            <a:r>
              <a:rPr lang="fr-FR" dirty="0"/>
              <a:t>DIAPOSITIVE SUR 2 LIGNES</a:t>
            </a:r>
          </a:p>
        </p:txBody>
      </p:sp>
      <p:sp>
        <p:nvSpPr>
          <p:cNvPr id="26" name="Text Placeholder 37">
            <a:extLst>
              <a:ext uri="{FF2B5EF4-FFF2-40B4-BE49-F238E27FC236}">
                <a16:creationId xmlns:a16="http://schemas.microsoft.com/office/drawing/2014/main" id="{2BF1A56D-82D3-EB35-F32B-BE71E91026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9667" y="1135983"/>
            <a:ext cx="7351329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fr-FR"/>
              <a:t>CECI EST LE SOUS-TITRE DE LA DIAPOSITIVE</a:t>
            </a:r>
          </a:p>
        </p:txBody>
      </p:sp>
      <p:sp>
        <p:nvSpPr>
          <p:cNvPr id="37" name="Picture Placeholder 58">
            <a:extLst>
              <a:ext uri="{FF2B5EF4-FFF2-40B4-BE49-F238E27FC236}">
                <a16:creationId xmlns:a16="http://schemas.microsoft.com/office/drawing/2014/main" id="{15B88AFB-8692-9738-27C1-749AF3AA32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6152" y="2272145"/>
            <a:ext cx="440811" cy="380426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r>
              <a:rPr lang="fr-FR"/>
              <a:t>Insérer </a:t>
            </a:r>
            <a:r>
              <a:rPr lang="fr-FR" err="1"/>
              <a:t>icon</a:t>
            </a:r>
            <a:endParaRPr lang="fr-FR"/>
          </a:p>
        </p:txBody>
      </p:sp>
      <p:sp>
        <p:nvSpPr>
          <p:cNvPr id="40" name="Text Placeholder 40">
            <a:extLst>
              <a:ext uri="{FF2B5EF4-FFF2-40B4-BE49-F238E27FC236}">
                <a16:creationId xmlns:a16="http://schemas.microsoft.com/office/drawing/2014/main" id="{9C358A77-B0B2-F0B2-10D4-5DF898EE4D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735" y="3331266"/>
            <a:ext cx="3955465" cy="2340714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DIN Pro" panose="020B0504020201010104" pitchFamily="34" charset="0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DIN Pro" panose="020B0504020201010104" pitchFamily="34" charset="0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DIN Pro" panose="020B0504020201010104" pitchFamily="34" charset="0"/>
              </a:defRPr>
            </a:lvl3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</p:txBody>
      </p:sp>
      <p:sp>
        <p:nvSpPr>
          <p:cNvPr id="41" name="Text Placeholder 53">
            <a:extLst>
              <a:ext uri="{FF2B5EF4-FFF2-40B4-BE49-F238E27FC236}">
                <a16:creationId xmlns:a16="http://schemas.microsoft.com/office/drawing/2014/main" id="{BFA031CE-AB4A-8C44-B3AA-2BACEE1528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2736" y="2997147"/>
            <a:ext cx="3955465" cy="2492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18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INSÉRER TEXTE</a:t>
            </a:r>
          </a:p>
        </p:txBody>
      </p:sp>
      <p:sp>
        <p:nvSpPr>
          <p:cNvPr id="2" name="Ellipse 23">
            <a:extLst>
              <a:ext uri="{FF2B5EF4-FFF2-40B4-BE49-F238E27FC236}">
                <a16:creationId xmlns:a16="http://schemas.microsoft.com/office/drawing/2014/main" id="{41D0A8C2-5FF4-E32F-66FF-A61A979FC8AA}"/>
              </a:ext>
            </a:extLst>
          </p:cNvPr>
          <p:cNvSpPr/>
          <p:nvPr userDrawn="1"/>
        </p:nvSpPr>
        <p:spPr>
          <a:xfrm>
            <a:off x="-164763" y="724325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" name="Ellipse 24">
            <a:extLst>
              <a:ext uri="{FF2B5EF4-FFF2-40B4-BE49-F238E27FC236}">
                <a16:creationId xmlns:a16="http://schemas.microsoft.com/office/drawing/2014/main" id="{3D23238A-3259-FB55-F7DB-118A0E6132A2}"/>
              </a:ext>
            </a:extLst>
          </p:cNvPr>
          <p:cNvSpPr/>
          <p:nvPr userDrawn="1"/>
        </p:nvSpPr>
        <p:spPr>
          <a:xfrm>
            <a:off x="-164763" y="227942"/>
            <a:ext cx="396604" cy="396604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41548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9926" y="1366839"/>
            <a:ext cx="10853738" cy="4251325"/>
          </a:xfrm>
        </p:spPr>
        <p:txBody>
          <a:bodyPr/>
          <a:lstStyle>
            <a:lvl1pPr>
              <a:defRPr>
                <a:latin typeface="DIN Pro" panose="020B0504020201010104" pitchFamily="34" charset="0"/>
              </a:defRPr>
            </a:lvl1pPr>
            <a:lvl2pPr>
              <a:defRPr>
                <a:latin typeface="DIN Pro" panose="020B0504020201010104" pitchFamily="34" charset="0"/>
              </a:defRPr>
            </a:lvl2pPr>
            <a:lvl3pPr>
              <a:defRPr>
                <a:latin typeface="DIN Pro" panose="020B0504020201010104" pitchFamily="34" charset="0"/>
              </a:defRPr>
            </a:lvl3pPr>
            <a:lvl4pPr>
              <a:defRPr>
                <a:latin typeface="DIN Pro" panose="020B0504020201010104" pitchFamily="34" charset="0"/>
              </a:defRPr>
            </a:lvl4pPr>
            <a:lvl5pPr>
              <a:defRPr>
                <a:latin typeface="DIN Pro" panose="020B05040202010101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41C53E65-6DF0-1F8C-E7E1-2371C6A03F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8863" y="6297613"/>
            <a:ext cx="423862" cy="365125"/>
          </a:xfrm>
          <a:prstGeom prst="rect">
            <a:avLst/>
          </a:prstGeom>
        </p:spPr>
        <p:txBody>
          <a:bodyPr wrap="none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28F8E1CF-0696-6849-88A5-B95CC81CFB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03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 s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/>
              <a:t>Muutke tiitli laadi</a:t>
            </a:r>
          </a:p>
        </p:txBody>
      </p:sp>
      <p:sp>
        <p:nvSpPr>
          <p:cNvPr id="3" name="Sisu kohatäid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Sisu kohatäid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5" name="Kuupäeva kohatäid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6" name="Jaluse kohatäid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aidinumbri kohatä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3353649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ABD69E2-9D5F-B691-700E-C1BEDCEDCA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BD69E2-9D5F-B691-700E-C1BEDCEDCA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A44C6779-AF55-A703-528E-C8FCFEB208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6589" t="46108" r="45785" b="46206"/>
          <a:stretch/>
        </p:blipFill>
        <p:spPr>
          <a:xfrm>
            <a:off x="0" y="0"/>
            <a:ext cx="4848448" cy="1417320"/>
          </a:xfrm>
          <a:custGeom>
            <a:avLst/>
            <a:gdLst>
              <a:gd name="connsiteX0" fmla="*/ 0 w 4848448"/>
              <a:gd name="connsiteY0" fmla="*/ 0 h 1417320"/>
              <a:gd name="connsiteX1" fmla="*/ 4848448 w 4848448"/>
              <a:gd name="connsiteY1" fmla="*/ 0 h 1417320"/>
              <a:gd name="connsiteX2" fmla="*/ 4848448 w 4848448"/>
              <a:gd name="connsiteY2" fmla="*/ 971 h 1417320"/>
              <a:gd name="connsiteX3" fmla="*/ 4832424 w 4848448"/>
              <a:gd name="connsiteY3" fmla="*/ 1168 h 1417320"/>
              <a:gd name="connsiteX4" fmla="*/ 0 w 4848448"/>
              <a:gd name="connsiteY4" fmla="*/ 141732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48448" h="1417320">
                <a:moveTo>
                  <a:pt x="0" y="0"/>
                </a:moveTo>
                <a:lnTo>
                  <a:pt x="4848448" y="0"/>
                </a:lnTo>
                <a:lnTo>
                  <a:pt x="4848448" y="971"/>
                </a:lnTo>
                <a:lnTo>
                  <a:pt x="4832424" y="1168"/>
                </a:lnTo>
                <a:cubicBezTo>
                  <a:pt x="4069409" y="12457"/>
                  <a:pt x="0" y="132874"/>
                  <a:pt x="0" y="1417320"/>
                </a:cubicBezTo>
                <a:close/>
              </a:path>
            </a:pathLst>
          </a:cu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D55E2759-030C-107C-DFB2-2889BDB724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039" t="32135" r="45785" b="44674"/>
          <a:stretch/>
        </p:blipFill>
        <p:spPr>
          <a:xfrm>
            <a:off x="6091824" y="2581651"/>
            <a:ext cx="6100178" cy="4276351"/>
          </a:xfrm>
          <a:custGeom>
            <a:avLst/>
            <a:gdLst>
              <a:gd name="connsiteX0" fmla="*/ 4521819 w 6100178"/>
              <a:gd name="connsiteY0" fmla="*/ 0 h 4276351"/>
              <a:gd name="connsiteX1" fmla="*/ 6079117 w 6100178"/>
              <a:gd name="connsiteY1" fmla="*/ 274832 h 4276351"/>
              <a:gd name="connsiteX2" fmla="*/ 6100178 w 6100178"/>
              <a:gd name="connsiteY2" fmla="*/ 283137 h 4276351"/>
              <a:gd name="connsiteX3" fmla="*/ 6100178 w 6100178"/>
              <a:gd name="connsiteY3" fmla="*/ 4276351 h 4276351"/>
              <a:gd name="connsiteX4" fmla="*/ 0 w 6100178"/>
              <a:gd name="connsiteY4" fmla="*/ 4276351 h 4276351"/>
              <a:gd name="connsiteX5" fmla="*/ 15984 w 6100178"/>
              <a:gd name="connsiteY5" fmla="*/ 4066133 h 4276351"/>
              <a:gd name="connsiteX6" fmla="*/ 4521819 w 6100178"/>
              <a:gd name="connsiteY6" fmla="*/ 0 h 4276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00178" h="4276351">
                <a:moveTo>
                  <a:pt x="4521819" y="0"/>
                </a:moveTo>
                <a:cubicBezTo>
                  <a:pt x="5069005" y="0"/>
                  <a:pt x="5593527" y="97034"/>
                  <a:pt x="6079117" y="274832"/>
                </a:cubicBezTo>
                <a:lnTo>
                  <a:pt x="6100178" y="283137"/>
                </a:lnTo>
                <a:lnTo>
                  <a:pt x="6100178" y="4276351"/>
                </a:lnTo>
                <a:lnTo>
                  <a:pt x="0" y="4276351"/>
                </a:lnTo>
                <a:lnTo>
                  <a:pt x="15984" y="4066133"/>
                </a:lnTo>
                <a:cubicBezTo>
                  <a:pt x="247926" y="1782247"/>
                  <a:pt x="2176740" y="0"/>
                  <a:pt x="4521819" y="0"/>
                </a:cubicBezTo>
                <a:close/>
              </a:path>
            </a:pathLst>
          </a:custGeom>
        </p:spPr>
      </p:pic>
      <p:pic>
        <p:nvPicPr>
          <p:cNvPr id="5" name="Graphic 5">
            <a:extLst>
              <a:ext uri="{FF2B5EF4-FFF2-40B4-BE49-F238E27FC236}">
                <a16:creationId xmlns:a16="http://schemas.microsoft.com/office/drawing/2014/main" id="{DB5ADC18-4FB4-3ED0-94C8-E0126C3DF4D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56838" y="6445250"/>
            <a:ext cx="1108075" cy="180975"/>
          </a:xfrm>
          <a:prstGeom prst="rect">
            <a:avLst/>
          </a:prstGeom>
        </p:spPr>
      </p:pic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F29B4C63-EC5E-9B68-8BDE-38503904B4A8}"/>
              </a:ext>
            </a:extLst>
          </p:cNvPr>
          <p:cNvCxnSpPr>
            <a:cxnSpLocks/>
          </p:cNvCxnSpPr>
          <p:nvPr userDrawn="1"/>
        </p:nvCxnSpPr>
        <p:spPr>
          <a:xfrm>
            <a:off x="11506200" y="6430963"/>
            <a:ext cx="0" cy="2095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7">
            <a:extLst>
              <a:ext uri="{FF2B5EF4-FFF2-40B4-BE49-F238E27FC236}">
                <a16:creationId xmlns:a16="http://schemas.microsoft.com/office/drawing/2014/main" id="{87785944-B872-E9E6-479F-F32558F8A4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45900" y="6457950"/>
            <a:ext cx="1905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9pPr>
          </a:lstStyle>
          <a:p>
            <a:pPr algn="ctr" eaLnBrk="1" hangingPunct="1"/>
            <a:fld id="{20238A48-19E2-774A-AD64-9D84D665BF1E}" type="slidenum">
              <a:rPr lang="fr-FR" altLang="fr-FR" sz="1000">
                <a:solidFill>
                  <a:srgbClr val="3D3D3C"/>
                </a:solidFill>
              </a:rPr>
              <a:pPr algn="ctr" eaLnBrk="1" hangingPunct="1"/>
              <a:t>‹#›</a:t>
            </a:fld>
            <a:endParaRPr lang="fr-FR" altLang="fr-FR" sz="1000">
              <a:solidFill>
                <a:srgbClr val="3D3D3C"/>
              </a:solidFill>
            </a:endParaRPr>
          </a:p>
        </p:txBody>
      </p:sp>
      <p:sp>
        <p:nvSpPr>
          <p:cNvPr id="8" name="Ellipse 23">
            <a:extLst>
              <a:ext uri="{FF2B5EF4-FFF2-40B4-BE49-F238E27FC236}">
                <a16:creationId xmlns:a16="http://schemas.microsoft.com/office/drawing/2014/main" id="{DE9031A0-59A7-6BE3-E078-49BB9040D2B4}"/>
              </a:ext>
            </a:extLst>
          </p:cNvPr>
          <p:cNvSpPr/>
          <p:nvPr userDrawn="1"/>
        </p:nvSpPr>
        <p:spPr>
          <a:xfrm>
            <a:off x="-165100" y="723900"/>
            <a:ext cx="396875" cy="396875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Ellipse 24">
            <a:extLst>
              <a:ext uri="{FF2B5EF4-FFF2-40B4-BE49-F238E27FC236}">
                <a16:creationId xmlns:a16="http://schemas.microsoft.com/office/drawing/2014/main" id="{D71F908C-29D8-E589-A6C9-23247E1053FA}"/>
              </a:ext>
            </a:extLst>
          </p:cNvPr>
          <p:cNvSpPr/>
          <p:nvPr userDrawn="1"/>
        </p:nvSpPr>
        <p:spPr>
          <a:xfrm>
            <a:off x="-165100" y="228600"/>
            <a:ext cx="396875" cy="395288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8"/>
          </p:nvPr>
        </p:nvSpPr>
        <p:spPr>
          <a:xfrm>
            <a:off x="692736" y="2118537"/>
            <a:ext cx="687644" cy="687644"/>
          </a:xfrm>
          <a:custGeom>
            <a:avLst/>
            <a:gdLst>
              <a:gd name="connsiteX0" fmla="*/ 343822 w 687644"/>
              <a:gd name="connsiteY0" fmla="*/ 0 h 687644"/>
              <a:gd name="connsiteX1" fmla="*/ 687644 w 687644"/>
              <a:gd name="connsiteY1" fmla="*/ 343822 h 687644"/>
              <a:gd name="connsiteX2" fmla="*/ 343822 w 687644"/>
              <a:gd name="connsiteY2" fmla="*/ 687644 h 687644"/>
              <a:gd name="connsiteX3" fmla="*/ 0 w 687644"/>
              <a:gd name="connsiteY3" fmla="*/ 343822 h 687644"/>
              <a:gd name="connsiteX4" fmla="*/ 343822 w 687644"/>
              <a:gd name="connsiteY4" fmla="*/ 0 h 68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644" h="687644">
                <a:moveTo>
                  <a:pt x="343822" y="0"/>
                </a:moveTo>
                <a:cubicBezTo>
                  <a:pt x="533710" y="0"/>
                  <a:pt x="687644" y="153934"/>
                  <a:pt x="687644" y="343822"/>
                </a:cubicBezTo>
                <a:cubicBezTo>
                  <a:pt x="687644" y="533710"/>
                  <a:pt x="533710" y="687644"/>
                  <a:pt x="343822" y="687644"/>
                </a:cubicBezTo>
                <a:cubicBezTo>
                  <a:pt x="153934" y="687644"/>
                  <a:pt x="0" y="533710"/>
                  <a:pt x="0" y="343822"/>
                </a:cubicBezTo>
                <a:cubicBezTo>
                  <a:pt x="0" y="153934"/>
                  <a:pt x="153934" y="0"/>
                  <a:pt x="343822" y="0"/>
                </a:cubicBezTo>
                <a:close/>
              </a:path>
            </a:pathLst>
          </a:custGeom>
          <a:ln w="12700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DIN Pro" panose="020B05040202010101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19"/>
          <p:cNvSpPr>
            <a:spLocks noGrp="1"/>
          </p:cNvSpPr>
          <p:nvPr>
            <p:ph type="title"/>
          </p:nvPr>
        </p:nvSpPr>
        <p:spPr>
          <a:xfrm>
            <a:off x="692738" y="381994"/>
            <a:ext cx="7351329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" name="Text Placeholder 37"/>
          <p:cNvSpPr>
            <a:spLocks noGrp="1"/>
          </p:cNvSpPr>
          <p:nvPr>
            <p:ph type="body" sz="quarter" idx="10"/>
          </p:nvPr>
        </p:nvSpPr>
        <p:spPr>
          <a:xfrm>
            <a:off x="692738" y="1126645"/>
            <a:ext cx="7351329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58"/>
          <p:cNvSpPr>
            <a:spLocks noGrp="1"/>
          </p:cNvSpPr>
          <p:nvPr>
            <p:ph type="pic" sz="quarter" idx="13"/>
          </p:nvPr>
        </p:nvSpPr>
        <p:spPr>
          <a:xfrm>
            <a:off x="816152" y="2272145"/>
            <a:ext cx="440811" cy="380426"/>
          </a:xfrm>
          <a:custGeom>
            <a:avLst/>
            <a:gdLst>
              <a:gd name="connsiteX0" fmla="*/ 0 w 5124694"/>
              <a:gd name="connsiteY0" fmla="*/ 0 h 6876000"/>
              <a:gd name="connsiteX1" fmla="*/ 5124694 w 5124694"/>
              <a:gd name="connsiteY1" fmla="*/ 0 h 6876000"/>
              <a:gd name="connsiteX2" fmla="*/ 5124694 w 5124694"/>
              <a:gd name="connsiteY2" fmla="*/ 6876000 h 6876000"/>
              <a:gd name="connsiteX3" fmla="*/ 0 w 5124694"/>
              <a:gd name="connsiteY3" fmla="*/ 6876000 h 68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4694" h="6876000">
                <a:moveTo>
                  <a:pt x="0" y="0"/>
                </a:moveTo>
                <a:lnTo>
                  <a:pt x="5124694" y="0"/>
                </a:lnTo>
                <a:lnTo>
                  <a:pt x="5124694" y="6876000"/>
                </a:lnTo>
                <a:lnTo>
                  <a:pt x="0" y="6876000"/>
                </a:lnTo>
                <a:close/>
              </a:path>
            </a:pathLst>
          </a:custGeom>
          <a:noFill/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900">
                <a:latin typeface="DIN Pro" panose="020B0504020201010104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fr-FR" noProof="0"/>
          </a:p>
        </p:txBody>
      </p:sp>
      <p:sp>
        <p:nvSpPr>
          <p:cNvPr id="40" name="Text Placeholder 40"/>
          <p:cNvSpPr>
            <a:spLocks noGrp="1"/>
          </p:cNvSpPr>
          <p:nvPr>
            <p:ph type="body" sz="quarter" idx="11"/>
          </p:nvPr>
        </p:nvSpPr>
        <p:spPr>
          <a:xfrm>
            <a:off x="692735" y="3331266"/>
            <a:ext cx="3955465" cy="2340714"/>
          </a:xfrm>
          <a:prstGeom prst="rect">
            <a:avLst/>
          </a:prstGeom>
        </p:spPr>
        <p:txBody>
          <a:bodyPr lIns="0" tIns="0" rIns="0" bIns="0"/>
          <a:lstStyle>
            <a:lvl1pPr marL="1728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rgbClr val="3D3D3C"/>
                </a:solidFill>
                <a:latin typeface="DIN Pro" panose="020B0504020201010104" pitchFamily="34" charset="0"/>
              </a:defRPr>
            </a:lvl1pPr>
            <a:lvl2pPr marL="3456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DIN Pro Regular" panose="020B0504020101020102" pitchFamily="34" charset="0"/>
              <a:buChar char="–"/>
              <a:defRPr sz="1200">
                <a:solidFill>
                  <a:srgbClr val="3D3D3C"/>
                </a:solidFill>
                <a:latin typeface="DIN Pro" panose="020B0504020201010104" pitchFamily="34" charset="0"/>
              </a:defRPr>
            </a:lvl2pPr>
            <a:lvl3pPr marL="518400" indent="-1728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  <a:defRPr sz="1100">
                <a:solidFill>
                  <a:srgbClr val="3D3D3C"/>
                </a:solidFill>
                <a:latin typeface="DIN Pro" panose="020B05040202010101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Text Placeholder 53"/>
          <p:cNvSpPr>
            <a:spLocks noGrp="1"/>
          </p:cNvSpPr>
          <p:nvPr>
            <p:ph type="body" sz="quarter" idx="17"/>
          </p:nvPr>
        </p:nvSpPr>
        <p:spPr>
          <a:xfrm>
            <a:off x="692736" y="2997147"/>
            <a:ext cx="3955465" cy="2492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18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42892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ABD69E2-9D5F-B691-700E-C1BEDCEDCA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BD69E2-9D5F-B691-700E-C1BEDCEDCA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A44C6779-AF55-A703-528E-C8FCFEB208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6589" t="46108" r="45785" b="46206"/>
          <a:stretch/>
        </p:blipFill>
        <p:spPr>
          <a:xfrm>
            <a:off x="0" y="0"/>
            <a:ext cx="4848448" cy="1417320"/>
          </a:xfrm>
          <a:custGeom>
            <a:avLst/>
            <a:gdLst>
              <a:gd name="connsiteX0" fmla="*/ 0 w 4848448"/>
              <a:gd name="connsiteY0" fmla="*/ 0 h 1417320"/>
              <a:gd name="connsiteX1" fmla="*/ 4848448 w 4848448"/>
              <a:gd name="connsiteY1" fmla="*/ 0 h 1417320"/>
              <a:gd name="connsiteX2" fmla="*/ 4848448 w 4848448"/>
              <a:gd name="connsiteY2" fmla="*/ 971 h 1417320"/>
              <a:gd name="connsiteX3" fmla="*/ 4832424 w 4848448"/>
              <a:gd name="connsiteY3" fmla="*/ 1168 h 1417320"/>
              <a:gd name="connsiteX4" fmla="*/ 0 w 4848448"/>
              <a:gd name="connsiteY4" fmla="*/ 141732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48448" h="1417320">
                <a:moveTo>
                  <a:pt x="0" y="0"/>
                </a:moveTo>
                <a:lnTo>
                  <a:pt x="4848448" y="0"/>
                </a:lnTo>
                <a:lnTo>
                  <a:pt x="4848448" y="971"/>
                </a:lnTo>
                <a:lnTo>
                  <a:pt x="4832424" y="1168"/>
                </a:lnTo>
                <a:cubicBezTo>
                  <a:pt x="4069409" y="12457"/>
                  <a:pt x="0" y="132874"/>
                  <a:pt x="0" y="1417320"/>
                </a:cubicBezTo>
                <a:close/>
              </a:path>
            </a:pathLst>
          </a:cu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D55E2759-030C-107C-DFB2-2889BDB724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039" t="32135" r="45785" b="44674"/>
          <a:stretch/>
        </p:blipFill>
        <p:spPr>
          <a:xfrm>
            <a:off x="5148870" y="716030"/>
            <a:ext cx="8761468" cy="6141970"/>
          </a:xfrm>
          <a:custGeom>
            <a:avLst/>
            <a:gdLst>
              <a:gd name="connsiteX0" fmla="*/ 4521819 w 6100178"/>
              <a:gd name="connsiteY0" fmla="*/ 0 h 4276351"/>
              <a:gd name="connsiteX1" fmla="*/ 6079117 w 6100178"/>
              <a:gd name="connsiteY1" fmla="*/ 274832 h 4276351"/>
              <a:gd name="connsiteX2" fmla="*/ 6100178 w 6100178"/>
              <a:gd name="connsiteY2" fmla="*/ 283137 h 4276351"/>
              <a:gd name="connsiteX3" fmla="*/ 6100178 w 6100178"/>
              <a:gd name="connsiteY3" fmla="*/ 4276351 h 4276351"/>
              <a:gd name="connsiteX4" fmla="*/ 0 w 6100178"/>
              <a:gd name="connsiteY4" fmla="*/ 4276351 h 4276351"/>
              <a:gd name="connsiteX5" fmla="*/ 15984 w 6100178"/>
              <a:gd name="connsiteY5" fmla="*/ 4066133 h 4276351"/>
              <a:gd name="connsiteX6" fmla="*/ 4521819 w 6100178"/>
              <a:gd name="connsiteY6" fmla="*/ 0 h 4276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00178" h="4276351">
                <a:moveTo>
                  <a:pt x="4521819" y="0"/>
                </a:moveTo>
                <a:cubicBezTo>
                  <a:pt x="5069005" y="0"/>
                  <a:pt x="5593527" y="97034"/>
                  <a:pt x="6079117" y="274832"/>
                </a:cubicBezTo>
                <a:lnTo>
                  <a:pt x="6100178" y="283137"/>
                </a:lnTo>
                <a:lnTo>
                  <a:pt x="6100178" y="4276351"/>
                </a:lnTo>
                <a:lnTo>
                  <a:pt x="0" y="4276351"/>
                </a:lnTo>
                <a:lnTo>
                  <a:pt x="15984" y="4066133"/>
                </a:lnTo>
                <a:cubicBezTo>
                  <a:pt x="247926" y="1782247"/>
                  <a:pt x="2176740" y="0"/>
                  <a:pt x="4521819" y="0"/>
                </a:cubicBezTo>
                <a:close/>
              </a:path>
            </a:pathLst>
          </a:custGeom>
        </p:spPr>
      </p:pic>
      <p:pic>
        <p:nvPicPr>
          <p:cNvPr id="5" name="Graphic 5">
            <a:extLst>
              <a:ext uri="{FF2B5EF4-FFF2-40B4-BE49-F238E27FC236}">
                <a16:creationId xmlns:a16="http://schemas.microsoft.com/office/drawing/2014/main" id="{DB5ADC18-4FB4-3ED0-94C8-E0126C3DF4D8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56838" y="6445250"/>
            <a:ext cx="1108075" cy="180975"/>
          </a:xfrm>
          <a:prstGeom prst="rect">
            <a:avLst/>
          </a:prstGeom>
        </p:spPr>
      </p:pic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F29B4C63-EC5E-9B68-8BDE-38503904B4A8}"/>
              </a:ext>
            </a:extLst>
          </p:cNvPr>
          <p:cNvCxnSpPr>
            <a:cxnSpLocks/>
          </p:cNvCxnSpPr>
          <p:nvPr userDrawn="1"/>
        </p:nvCxnSpPr>
        <p:spPr>
          <a:xfrm>
            <a:off x="11506200" y="6430963"/>
            <a:ext cx="0" cy="2095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7">
            <a:extLst>
              <a:ext uri="{FF2B5EF4-FFF2-40B4-BE49-F238E27FC236}">
                <a16:creationId xmlns:a16="http://schemas.microsoft.com/office/drawing/2014/main" id="{87785944-B872-E9E6-479F-F32558F8A4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45900" y="6457950"/>
            <a:ext cx="1905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DIN Pro" panose="020B0504020201010104" pitchFamily="34" charset="0"/>
              </a:defRPr>
            </a:lvl9pPr>
          </a:lstStyle>
          <a:p>
            <a:pPr algn="ctr" eaLnBrk="1" hangingPunct="1"/>
            <a:fld id="{20238A48-19E2-774A-AD64-9D84D665BF1E}" type="slidenum">
              <a:rPr lang="fr-FR" altLang="fr-FR" sz="1000">
                <a:solidFill>
                  <a:srgbClr val="3D3D3C"/>
                </a:solidFill>
              </a:rPr>
              <a:pPr algn="ctr" eaLnBrk="1" hangingPunct="1"/>
              <a:t>‹#›</a:t>
            </a:fld>
            <a:endParaRPr lang="fr-FR" altLang="fr-FR" sz="1000">
              <a:solidFill>
                <a:srgbClr val="3D3D3C"/>
              </a:solidFill>
            </a:endParaRPr>
          </a:p>
        </p:txBody>
      </p:sp>
      <p:sp>
        <p:nvSpPr>
          <p:cNvPr id="8" name="Ellipse 23">
            <a:extLst>
              <a:ext uri="{FF2B5EF4-FFF2-40B4-BE49-F238E27FC236}">
                <a16:creationId xmlns:a16="http://schemas.microsoft.com/office/drawing/2014/main" id="{DE9031A0-59A7-6BE3-E078-49BB9040D2B4}"/>
              </a:ext>
            </a:extLst>
          </p:cNvPr>
          <p:cNvSpPr/>
          <p:nvPr userDrawn="1"/>
        </p:nvSpPr>
        <p:spPr>
          <a:xfrm>
            <a:off x="-165100" y="723900"/>
            <a:ext cx="396875" cy="396875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Ellipse 24">
            <a:extLst>
              <a:ext uri="{FF2B5EF4-FFF2-40B4-BE49-F238E27FC236}">
                <a16:creationId xmlns:a16="http://schemas.microsoft.com/office/drawing/2014/main" id="{D71F908C-29D8-E589-A6C9-23247E1053FA}"/>
              </a:ext>
            </a:extLst>
          </p:cNvPr>
          <p:cNvSpPr/>
          <p:nvPr userDrawn="1"/>
        </p:nvSpPr>
        <p:spPr>
          <a:xfrm>
            <a:off x="-165100" y="228600"/>
            <a:ext cx="396875" cy="395288"/>
          </a:xfrm>
          <a:prstGeom prst="ellipse">
            <a:avLst/>
          </a:prstGeom>
          <a:solidFill>
            <a:srgbClr val="E401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5" name="Title 19"/>
          <p:cNvSpPr>
            <a:spLocks noGrp="1"/>
          </p:cNvSpPr>
          <p:nvPr>
            <p:ph type="title"/>
          </p:nvPr>
        </p:nvSpPr>
        <p:spPr>
          <a:xfrm>
            <a:off x="692738" y="381994"/>
            <a:ext cx="7351329" cy="66479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" name="Text Placeholder 37"/>
          <p:cNvSpPr>
            <a:spLocks noGrp="1"/>
          </p:cNvSpPr>
          <p:nvPr>
            <p:ph type="body" sz="quarter" idx="10"/>
          </p:nvPr>
        </p:nvSpPr>
        <p:spPr>
          <a:xfrm>
            <a:off x="692738" y="1126645"/>
            <a:ext cx="7351329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spcBef>
                <a:spcPts val="0"/>
              </a:spcBef>
              <a:buNone/>
              <a:defRPr sz="1200" spc="3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2482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õrd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t-EE"/>
              <a:t>Muutke tiitli laadi</a:t>
            </a:r>
          </a:p>
        </p:txBody>
      </p:sp>
      <p:sp>
        <p:nvSpPr>
          <p:cNvPr id="3" name="Teksti kohatäid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t-EE"/>
              <a:t>Muutke teksti laade</a:t>
            </a:r>
          </a:p>
        </p:txBody>
      </p:sp>
      <p:sp>
        <p:nvSpPr>
          <p:cNvPr id="4" name="Sisu kohatäid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5" name="Teksti kohatäid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t-EE"/>
              <a:t>Muutke teksti laade</a:t>
            </a:r>
          </a:p>
        </p:txBody>
      </p:sp>
      <p:sp>
        <p:nvSpPr>
          <p:cNvPr id="6" name="Sisu kohatäid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7" name="Kuupäeva kohatäid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8" name="Jaluse kohatäid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9" name="Slaidinumbri kohatä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278712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inult pealki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/>
              <a:t>Muutke tiitli laadi</a:t>
            </a:r>
          </a:p>
        </p:txBody>
      </p:sp>
      <p:sp>
        <p:nvSpPr>
          <p:cNvPr id="3" name="Kuupäeva kohatäid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4" name="Jaluse kohatäid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5" name="Slaidinumbri kohatä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080810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ü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uupäeva kohatäid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3" name="Jaluse kohatäid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Slaidinumbri kohatä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655310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Pealdisega s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t-EE"/>
              <a:t>Muutke tiitli laadi</a:t>
            </a:r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Teksti kohatäid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t-EE"/>
              <a:t>Muutke teksti laade</a:t>
            </a:r>
          </a:p>
        </p:txBody>
      </p:sp>
      <p:sp>
        <p:nvSpPr>
          <p:cNvPr id="5" name="Kuupäeva kohatäid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6" name="Jaluse kohatäid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aidinumbri kohatä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611350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ldiallkirjaga pi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t-EE"/>
              <a:t>Muutke tiitli laadi</a:t>
            </a:r>
          </a:p>
        </p:txBody>
      </p:sp>
      <p:sp>
        <p:nvSpPr>
          <p:cNvPr id="3" name="Pildi kohatäi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t-EE"/>
          </a:p>
        </p:txBody>
      </p:sp>
      <p:sp>
        <p:nvSpPr>
          <p:cNvPr id="4" name="Teksti kohatäid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t-EE"/>
              <a:t>Muutke teksti laade</a:t>
            </a:r>
          </a:p>
        </p:txBody>
      </p:sp>
      <p:sp>
        <p:nvSpPr>
          <p:cNvPr id="5" name="Kuupäeva kohatäid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6" name="Jaluse kohatäid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aidinumbri kohatä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834989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ja kohatäid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t-EE"/>
              <a:t>Muutke tiitli laadi</a:t>
            </a:r>
          </a:p>
        </p:txBody>
      </p:sp>
      <p:sp>
        <p:nvSpPr>
          <p:cNvPr id="3" name="Teksti kohatäid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t-EE"/>
              <a:t>Muutke teksti laade</a:t>
            </a:r>
          </a:p>
          <a:p>
            <a:pPr lvl="1"/>
            <a:r>
              <a:rPr lang="et-EE"/>
              <a:t>Teine tase</a:t>
            </a:r>
          </a:p>
          <a:p>
            <a:pPr lvl="2"/>
            <a:r>
              <a:rPr lang="et-EE"/>
              <a:t>Kolmas tase</a:t>
            </a:r>
          </a:p>
          <a:p>
            <a:pPr lvl="3"/>
            <a:r>
              <a:rPr lang="et-EE"/>
              <a:t>Neljas tase</a:t>
            </a:r>
          </a:p>
          <a:p>
            <a:pPr lvl="4"/>
            <a:r>
              <a:rPr lang="et-EE"/>
              <a:t>Viies tase</a:t>
            </a:r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924F08-A4F6-4C5C-B2C2-5EC083C97248}" type="datetimeFigureOut">
              <a:rPr lang="et-EE" smtClean="0"/>
              <a:t>14.02.2024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B39D88-BA65-4AE1-96B5-60FEA6385BB0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719171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t-E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3C8A8B-4F8F-6172-4FFB-B5E47F292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3C8A8B-4F8F-6172-4FFB-B5E47F292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4569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E4011A"/>
          </a:solidFill>
          <a:latin typeface="DIN Pro Bold" panose="020B0504020101020102" pitchFamily="34" charset="0"/>
          <a:ea typeface="+mj-ea"/>
          <a:cs typeface="DIN Pro Bold" panose="020B0504020101020102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4011A"/>
        </a:buClr>
        <a:buSzPct val="80000"/>
        <a:buFont typeface="Police système Courant"/>
        <a:buChar char="➤"/>
        <a:defRPr sz="2400" kern="1200">
          <a:solidFill>
            <a:srgbClr val="3D3D3C"/>
          </a:solidFill>
          <a:latin typeface="DIN Pro Regular" panose="020B0504020101020102" pitchFamily="34" charset="0"/>
          <a:ea typeface="+mn-ea"/>
          <a:cs typeface="DIN Pro Regular" panose="020B0504020101020102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4011A"/>
        </a:buClr>
        <a:buSzPct val="80000"/>
        <a:buFont typeface="Police système Courant"/>
        <a:buChar char="➤"/>
        <a:defRPr sz="2000" kern="1200">
          <a:solidFill>
            <a:srgbClr val="878786"/>
          </a:solidFill>
          <a:latin typeface="DIN Pro Regular" panose="020B0504020101020102" pitchFamily="34" charset="0"/>
          <a:ea typeface="+mn-ea"/>
          <a:cs typeface="DIN Pro Regular" panose="020B0504020101020102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4011A"/>
        </a:buClr>
        <a:buSzPct val="80000"/>
        <a:buFont typeface="Police système Courant"/>
        <a:buChar char="➤"/>
        <a:defRPr sz="1800" kern="1200">
          <a:solidFill>
            <a:srgbClr val="3D3D3C"/>
          </a:solidFill>
          <a:latin typeface="DIN Pro Regular" panose="020B0504020101020102" pitchFamily="34" charset="0"/>
          <a:ea typeface="+mn-ea"/>
          <a:cs typeface="DIN Pro Regular" panose="020B0504020101020102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4011A"/>
        </a:buClr>
        <a:buSzPct val="80000"/>
        <a:buFont typeface="Police système Courant"/>
        <a:buChar char="➤"/>
        <a:defRPr sz="1600" kern="1200">
          <a:solidFill>
            <a:srgbClr val="3D3D3C"/>
          </a:solidFill>
          <a:latin typeface="DIN Pro Regular" panose="020B0504020101020102" pitchFamily="34" charset="0"/>
          <a:ea typeface="+mn-ea"/>
          <a:cs typeface="DIN Pro Regular" panose="020B0504020101020102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4011A"/>
        </a:buClr>
        <a:buSzPct val="80000"/>
        <a:buFont typeface="Police système Courant"/>
        <a:buChar char="➤"/>
        <a:defRPr sz="1600" kern="1200">
          <a:solidFill>
            <a:srgbClr val="3D3D3C"/>
          </a:solidFill>
          <a:latin typeface="DIN Pro Regular" panose="020B0504020101020102" pitchFamily="34" charset="0"/>
          <a:ea typeface="+mn-ea"/>
          <a:cs typeface="DIN Pro Regular" panose="020B0504020101020102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7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: Rounded Corners 4">
            <a:extLst>
              <a:ext uri="{FF2B5EF4-FFF2-40B4-BE49-F238E27FC236}">
                <a16:creationId xmlns:a16="http://schemas.microsoft.com/office/drawing/2014/main" id="{E5F3F728-F1E7-3ED8-0479-ACBCA5096D10}"/>
              </a:ext>
            </a:extLst>
          </p:cNvPr>
          <p:cNvSpPr/>
          <p:nvPr/>
        </p:nvSpPr>
        <p:spPr>
          <a:xfrm>
            <a:off x="569998" y="4564869"/>
            <a:ext cx="10787030" cy="1356456"/>
          </a:xfrm>
          <a:prstGeom prst="roundRect">
            <a:avLst>
              <a:gd name="adj" fmla="val 6801"/>
            </a:avLst>
          </a:prstGeom>
          <a:solidFill>
            <a:schemeClr val="bg1">
              <a:lumMod val="95000"/>
              <a:alpha val="54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49467940-D355-AC13-EA2A-D9BEE338D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638" y="-43382"/>
            <a:ext cx="7464605" cy="664797"/>
          </a:xfrm>
        </p:spPr>
        <p:txBody>
          <a:bodyPr/>
          <a:lstStyle/>
          <a:p>
            <a:r>
              <a:rPr lang="en-US" dirty="0"/>
              <a:t>OPTIMEERITUD SHN KOOSTISED - KUIVTOIT</a:t>
            </a:r>
            <a:endParaRPr lang="fr-FR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017842-1E06-7C37-8E96-28F0E4B14210}"/>
              </a:ext>
            </a:extLst>
          </p:cNvPr>
          <p:cNvGrpSpPr/>
          <p:nvPr/>
        </p:nvGrpSpPr>
        <p:grpSpPr>
          <a:xfrm>
            <a:off x="5692799" y="928920"/>
            <a:ext cx="5500585" cy="1397652"/>
            <a:chOff x="6113633" y="1093248"/>
            <a:chExt cx="5500585" cy="1676305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9DB4715-A0D5-5E57-29B5-66ADB95588DB}"/>
                </a:ext>
              </a:extLst>
            </p:cNvPr>
            <p:cNvSpPr/>
            <p:nvPr/>
          </p:nvSpPr>
          <p:spPr>
            <a:xfrm>
              <a:off x="6113633" y="1093248"/>
              <a:ext cx="5500585" cy="1676305"/>
            </a:xfrm>
            <a:prstGeom prst="roundRect">
              <a:avLst>
                <a:gd name="adj" fmla="val 2065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22" name="Text Placeholder 14">
              <a:extLst>
                <a:ext uri="{FF2B5EF4-FFF2-40B4-BE49-F238E27FC236}">
                  <a16:creationId xmlns:a16="http://schemas.microsoft.com/office/drawing/2014/main" id="{E5BD3D16-E429-EFFD-582F-B5A76CC697CE}"/>
                </a:ext>
              </a:extLst>
            </p:cNvPr>
            <p:cNvSpPr txBox="1">
              <a:spLocks/>
            </p:cNvSpPr>
            <p:nvPr/>
          </p:nvSpPr>
          <p:spPr>
            <a:xfrm>
              <a:off x="6398197" y="1204252"/>
              <a:ext cx="4844736" cy="319527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VETikaõli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kasutusele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toomine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 (EPA/DHA)</a:t>
              </a:r>
              <a:endParaRPr kumimoji="0" lang="fr-FR" sz="1600" b="1" i="0" u="none" strike="noStrike" kern="1200" cap="all" spc="0" normalizeH="0" baseline="0" noProof="0" dirty="0">
                <a:ln>
                  <a:noFill/>
                </a:ln>
                <a:solidFill>
                  <a:srgbClr val="EC001A"/>
                </a:solidFill>
                <a:effectLst/>
                <a:uLnTx/>
                <a:uFillTx/>
                <a:latin typeface="DIN Pro"/>
                <a:ea typeface="+mn-ea"/>
              </a:endParaRPr>
            </a:p>
          </p:txBody>
        </p:sp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CE7BC1B4-CE4C-7152-7282-E8959031C7B2}"/>
                </a:ext>
              </a:extLst>
            </p:cNvPr>
            <p:cNvSpPr txBox="1">
              <a:spLocks/>
            </p:cNvSpPr>
            <p:nvPr/>
          </p:nvSpPr>
          <p:spPr>
            <a:xfrm>
              <a:off x="6655028" y="1593184"/>
              <a:ext cx="4879632" cy="1158505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Aft>
                  <a:spcPts val="1800"/>
                </a:spcAft>
                <a:buNone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Royal Canin 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on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tuvastanu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konkreetse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vetikasordid</a:t>
              </a:r>
              <a:r>
                <a:rPr lang="en-US" sz="1400">
                  <a:solidFill>
                    <a:srgbClr val="3D3D3C"/>
                  </a:solidFill>
                  <a:latin typeface="DIN Pro Cond"/>
                </a:rPr>
                <a:t>, mis on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alternatiivsek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EPA/DH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allikak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.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Vetikaõl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lisamiseg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mei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koostisess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(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kalaõl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ja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vetikaõl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segu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)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järgim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om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jätkusuutlikkus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err="1">
                  <a:solidFill>
                    <a:srgbClr val="3D3D3C"/>
                  </a:solidFill>
                  <a:latin typeface="DIN Pro Cond"/>
                </a:rPr>
                <a:t>põhimõte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.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87D3DDA-BB3A-87FC-344D-6723AA5067B0}"/>
              </a:ext>
            </a:extLst>
          </p:cNvPr>
          <p:cNvGrpSpPr/>
          <p:nvPr/>
        </p:nvGrpSpPr>
        <p:grpSpPr>
          <a:xfrm>
            <a:off x="622649" y="928918"/>
            <a:ext cx="4701739" cy="1460946"/>
            <a:chOff x="555963" y="1810691"/>
            <a:chExt cx="4570757" cy="1138157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B76866D0-4E3A-96A6-AF34-4A5073E71DCD}"/>
                </a:ext>
              </a:extLst>
            </p:cNvPr>
            <p:cNvSpPr/>
            <p:nvPr/>
          </p:nvSpPr>
          <p:spPr>
            <a:xfrm>
              <a:off x="555963" y="1810691"/>
              <a:ext cx="4570757" cy="1080357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5" name="Text Placeholder 14">
              <a:extLst>
                <a:ext uri="{FF2B5EF4-FFF2-40B4-BE49-F238E27FC236}">
                  <a16:creationId xmlns:a16="http://schemas.microsoft.com/office/drawing/2014/main" id="{42C2C1EB-5C64-72A0-482B-991A0FB41C1C}"/>
                </a:ext>
              </a:extLst>
            </p:cNvPr>
            <p:cNvSpPr txBox="1">
              <a:spLocks/>
            </p:cNvSpPr>
            <p:nvPr/>
          </p:nvSpPr>
          <p:spPr>
            <a:xfrm>
              <a:off x="796150" y="2069395"/>
              <a:ext cx="4080001" cy="130147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KUiv</a:t>
              </a:r>
              <a:r>
                <a:rPr lang="fr-FR" sz="1600" dirty="0"/>
                <a:t>-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ja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konservtoitude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koostise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konsistents</a:t>
              </a:r>
              <a:endParaRPr lang="en-US" dirty="0" err="1">
                <a:ea typeface="+mn-ea"/>
              </a:endParaRPr>
            </a:p>
          </p:txBody>
        </p:sp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EAE50B40-A7C2-8EDA-FDF9-9200A92A9E0B}"/>
                </a:ext>
              </a:extLst>
            </p:cNvPr>
            <p:cNvSpPr txBox="1">
              <a:spLocks/>
            </p:cNvSpPr>
            <p:nvPr/>
          </p:nvSpPr>
          <p:spPr>
            <a:xfrm>
              <a:off x="998798" y="2196339"/>
              <a:ext cx="3909720" cy="752509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Bef>
                  <a:spcPts val="0"/>
                </a:spcBef>
                <a:spcAft>
                  <a:spcPts val="1800"/>
                </a:spcAft>
                <a:buNone/>
                <a:defRPr/>
              </a:pP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Aitab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ältid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ode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lahjendamis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ja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head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omadus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adumis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odetel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elg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uurus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erinevu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, mis on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loomaomanikel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elg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ja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aitab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nei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mei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ode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juure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hoid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.</a:t>
              </a:r>
              <a:endParaRPr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DIN Pro Cond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EFD253F-2736-142F-65E4-A84F56769135}"/>
              </a:ext>
            </a:extLst>
          </p:cNvPr>
          <p:cNvGrpSpPr/>
          <p:nvPr/>
        </p:nvGrpSpPr>
        <p:grpSpPr>
          <a:xfrm>
            <a:off x="610313" y="2529321"/>
            <a:ext cx="4849980" cy="1622015"/>
            <a:chOff x="664865" y="3555310"/>
            <a:chExt cx="4714868" cy="158991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F094076-EB50-14AF-F309-3DBA7874C7D0}"/>
                </a:ext>
              </a:extLst>
            </p:cNvPr>
            <p:cNvSpPr/>
            <p:nvPr/>
          </p:nvSpPr>
          <p:spPr>
            <a:xfrm>
              <a:off x="664865" y="3555310"/>
              <a:ext cx="4570757" cy="1565063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8" name="Text Placeholder 14">
              <a:extLst>
                <a:ext uri="{FF2B5EF4-FFF2-40B4-BE49-F238E27FC236}">
                  <a16:creationId xmlns:a16="http://schemas.microsoft.com/office/drawing/2014/main" id="{2CB907BC-452B-F4CE-1025-AFA21B2DD8BB}"/>
                </a:ext>
              </a:extLst>
            </p:cNvPr>
            <p:cNvSpPr txBox="1">
              <a:spLocks/>
            </p:cNvSpPr>
            <p:nvPr/>
          </p:nvSpPr>
          <p:spPr>
            <a:xfrm>
              <a:off x="834499" y="3562675"/>
              <a:ext cx="4080001" cy="267071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TERaviljade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mitmekesistamine</a:t>
              </a:r>
              <a:endParaRPr lang="en-US" dirty="0" err="1">
                <a:ea typeface="+mn-ea"/>
              </a:endParaRPr>
            </a:p>
          </p:txBody>
        </p:sp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07450DB1-E67E-944A-0047-0CF06CC90E44}"/>
                </a:ext>
              </a:extLst>
            </p:cNvPr>
            <p:cNvSpPr txBox="1">
              <a:spLocks/>
            </p:cNvSpPr>
            <p:nvPr/>
          </p:nvSpPr>
          <p:spPr>
            <a:xfrm>
              <a:off x="1096645" y="3776055"/>
              <a:ext cx="4283088" cy="1369173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Bef>
                  <a:spcPts val="0"/>
                </a:spcBef>
                <a:spcAft>
                  <a:spcPts val="1800"/>
                </a:spcAft>
                <a:buNone/>
                <a:defRPr/>
              </a:pPr>
              <a:r>
                <a:rPr lang="en-US" sz="1400" dirty="0" err="1">
                  <a:solidFill>
                    <a:srgbClr val="3D3D3C"/>
                  </a:solidFill>
                </a:rPr>
                <a:t>Vähendam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asutamist</a:t>
              </a:r>
              <a:r>
                <a:rPr lang="en-US" sz="1400" dirty="0">
                  <a:solidFill>
                    <a:srgbClr val="3D3D3C"/>
                  </a:solidFill>
                </a:rPr>
                <a:t> sea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</a:rPr>
                <a:t>, </a:t>
              </a:r>
              <a:r>
                <a:rPr lang="en-US" sz="1400" dirty="0" err="1">
                  <a:solidFill>
                    <a:srgbClr val="3D3D3C"/>
                  </a:solidFill>
                </a:rPr>
                <a:t>kus</a:t>
              </a:r>
              <a:r>
                <a:rPr lang="en-US" sz="1400" dirty="0">
                  <a:solidFill>
                    <a:srgbClr val="3D3D3C"/>
                  </a:solidFill>
                </a:rPr>
                <a:t> see </a:t>
              </a:r>
              <a:r>
                <a:rPr lang="en-US" sz="1400" dirty="0" err="1">
                  <a:solidFill>
                    <a:srgbClr val="3D3D3C"/>
                  </a:solidFill>
                </a:rPr>
                <a:t>ei</a:t>
              </a:r>
              <a:r>
                <a:rPr lang="en-US" sz="1400" dirty="0">
                  <a:solidFill>
                    <a:srgbClr val="3D3D3C"/>
                  </a:solidFill>
                </a:rPr>
                <a:t> ole </a:t>
              </a:r>
              <a:r>
                <a:rPr lang="en-US" sz="1400" dirty="0" err="1">
                  <a:solidFill>
                    <a:srgbClr val="3D3D3C"/>
                  </a:solidFill>
                </a:rPr>
                <a:t>hädavajalik</a:t>
              </a:r>
              <a:r>
                <a:rPr lang="en-US" sz="1400" dirty="0">
                  <a:solidFill>
                    <a:srgbClr val="3D3D3C"/>
                  </a:solidFill>
                </a:rPr>
                <a:t>, </a:t>
              </a:r>
              <a:r>
                <a:rPr lang="en-US" sz="1400" dirty="0" err="1">
                  <a:solidFill>
                    <a:srgbClr val="3D3D3C"/>
                  </a:solidFill>
                </a:rPr>
                <a:t>tagade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ikk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am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iteväärtuse</a:t>
              </a:r>
              <a:r>
                <a:rPr lang="en-US" sz="1400" dirty="0">
                  <a:solidFill>
                    <a:srgbClr val="3D3D3C"/>
                  </a:solidFill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</a:rPr>
                <a:t>Uuringud</a:t>
              </a:r>
              <a:r>
                <a:rPr lang="en-US" sz="1400" dirty="0">
                  <a:solidFill>
                    <a:srgbClr val="3D3D3C"/>
                  </a:solidFill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</a:rPr>
                <a:t>näidanud</a:t>
              </a:r>
              <a:r>
                <a:rPr lang="en-US" sz="1400" dirty="0">
                  <a:solidFill>
                    <a:srgbClr val="3D3D3C"/>
                  </a:solidFill>
                </a:rPr>
                <a:t>, et </a:t>
              </a:r>
              <a:r>
                <a:rPr lang="en-US" sz="1400" dirty="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õju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üsinikdioksiid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heitkogustele</a:t>
              </a:r>
              <a:r>
                <a:rPr lang="en-US" sz="1400" dirty="0">
                  <a:solidFill>
                    <a:srgbClr val="3D3D3C"/>
                  </a:solidFill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</a:rPr>
                <a:t>enamiku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aailm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osades</a:t>
              </a:r>
              <a:r>
                <a:rPr lang="en-US" sz="1400" dirty="0">
                  <a:solidFill>
                    <a:srgbClr val="3D3D3C"/>
                  </a:solidFill>
                </a:rPr>
                <a:t> (</a:t>
              </a:r>
              <a:r>
                <a:rPr lang="en-US" sz="1400" dirty="0" err="1">
                  <a:solidFill>
                    <a:srgbClr val="3D3D3C"/>
                  </a:solidFill>
                </a:rPr>
                <a:t>sõltuval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päritolust</a:t>
              </a:r>
              <a:r>
                <a:rPr lang="en-US" sz="1400" dirty="0">
                  <a:solidFill>
                    <a:srgbClr val="3D3D3C"/>
                  </a:solidFill>
                </a:rPr>
                <a:t> ja </a:t>
              </a:r>
              <a:r>
                <a:rPr lang="en-US" sz="1400" dirty="0" err="1">
                  <a:solidFill>
                    <a:srgbClr val="3D3D3C"/>
                  </a:solidFill>
                </a:rPr>
                <a:t>kohalikes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põllumajandustavadest</a:t>
              </a:r>
              <a:r>
                <a:rPr lang="en-US" sz="1400" dirty="0">
                  <a:solidFill>
                    <a:srgbClr val="3D3D3C"/>
                  </a:solidFill>
                </a:rPr>
                <a:t>) </a:t>
              </a:r>
              <a:r>
                <a:rPr lang="en-US" sz="1400" dirty="0" err="1">
                  <a:solidFill>
                    <a:srgbClr val="3D3D3C"/>
                  </a:solidFill>
                </a:rPr>
                <a:t>suurem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u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eistel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eraviljadel</a:t>
              </a:r>
              <a:r>
                <a:rPr lang="en-US" sz="1400" dirty="0">
                  <a:solidFill>
                    <a:srgbClr val="3D3D3C"/>
                  </a:solidFill>
                </a:rPr>
                <a:t>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2CA9D0-2A97-5FB1-51BA-7708A4020597}"/>
              </a:ext>
            </a:extLst>
          </p:cNvPr>
          <p:cNvGrpSpPr/>
          <p:nvPr/>
        </p:nvGrpSpPr>
        <p:grpSpPr>
          <a:xfrm>
            <a:off x="5710806" y="2539218"/>
            <a:ext cx="5518482" cy="1875121"/>
            <a:chOff x="7222965" y="4215333"/>
            <a:chExt cx="4570757" cy="243142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68C476E-A978-F19D-7E42-31C2883B9355}"/>
                </a:ext>
              </a:extLst>
            </p:cNvPr>
            <p:cNvSpPr/>
            <p:nvPr/>
          </p:nvSpPr>
          <p:spPr>
            <a:xfrm>
              <a:off x="7222965" y="4215333"/>
              <a:ext cx="4570757" cy="2057510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17" name="Text Placeholder 14">
              <a:extLst>
                <a:ext uri="{FF2B5EF4-FFF2-40B4-BE49-F238E27FC236}">
                  <a16:creationId xmlns:a16="http://schemas.microsoft.com/office/drawing/2014/main" id="{A3358123-697F-065D-5B16-C38FD98DFA41}"/>
                </a:ext>
              </a:extLst>
            </p:cNvPr>
            <p:cNvSpPr txBox="1">
              <a:spLocks/>
            </p:cNvSpPr>
            <p:nvPr/>
          </p:nvSpPr>
          <p:spPr>
            <a:xfrm>
              <a:off x="7301301" y="4286022"/>
              <a:ext cx="4080001" cy="267071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Vananevad</a:t>
              </a: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 </a:t>
              </a:r>
              <a:r>
                <a:rPr lang="fr-FR" sz="1600" dirty="0" err="1">
                  <a:solidFill>
                    <a:srgbClr val="EC001A"/>
                  </a:solidFill>
                  <a:latin typeface="DIN Pro"/>
                </a:rPr>
                <a:t>loomad</a:t>
              </a:r>
              <a:endParaRPr kumimoji="0" lang="fr-FR" sz="1600" b="1" i="0" u="none" strike="noStrike" kern="1200" cap="all" spc="0" normalizeH="0" baseline="0" noProof="0" dirty="0" err="1">
                <a:ln>
                  <a:noFill/>
                </a:ln>
                <a:solidFill>
                  <a:srgbClr val="EC001A"/>
                </a:solidFill>
                <a:effectLst/>
                <a:uLnTx/>
                <a:uFillTx/>
                <a:latin typeface="DIN Pro"/>
                <a:ea typeface="+mn-ea"/>
              </a:endParaRPr>
            </a:p>
          </p:txBody>
        </p:sp>
        <p:sp>
          <p:nvSpPr>
            <p:cNvPr id="18" name="Content Placeholder 2">
              <a:extLst>
                <a:ext uri="{FF2B5EF4-FFF2-40B4-BE49-F238E27FC236}">
                  <a16:creationId xmlns:a16="http://schemas.microsoft.com/office/drawing/2014/main" id="{F0BD50C8-A325-1CF3-8592-D85062BCA20E}"/>
                </a:ext>
              </a:extLst>
            </p:cNvPr>
            <p:cNvSpPr txBox="1">
              <a:spLocks/>
            </p:cNvSpPr>
            <p:nvPr/>
          </p:nvSpPr>
          <p:spPr>
            <a:xfrm>
              <a:off x="7656468" y="4556183"/>
              <a:ext cx="4060954" cy="2090570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Aft>
                  <a:spcPts val="1800"/>
                </a:spcAft>
                <a:buNone/>
                <a:defRPr/>
              </a:pP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nema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idu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ostise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handatu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olulis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itainei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. See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põhineb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ig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uurusel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ja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nuse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,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et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agad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pikk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elujõulisu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(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tamiin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C ja E, et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äilitad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antioksüdantid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mõju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amut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on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eesmärgik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eatud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õig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fosforitas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õltuval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nuses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, et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etad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neerud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ervis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)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rPr>
                <a:t> 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- 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selg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põhjus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nema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oodet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ostmiseks</a:t>
              </a:r>
              <a:endParaRPr lang="en-US" dirty="0" err="1">
                <a:latin typeface="DIN Pro Cond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00BA4B9-14F8-6522-ACE6-CF2F39A286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649" y="1491128"/>
            <a:ext cx="511830" cy="45972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4BD3675-5CCC-A3C5-42CD-CE40073C8E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3808" y="2905217"/>
            <a:ext cx="600313" cy="55097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1088415-47B0-C5BF-23D4-1F933A2993A4}"/>
              </a:ext>
            </a:extLst>
          </p:cNvPr>
          <p:cNvSpPr txBox="1"/>
          <p:nvPr/>
        </p:nvSpPr>
        <p:spPr>
          <a:xfrm>
            <a:off x="2626573" y="4680922"/>
            <a:ext cx="7742231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DIN Pro Cond"/>
              </a:rPr>
              <a:t>UUENDANDATUD KOOSTISE TUGEVAD TOOTEOMADUSE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DIN Pro Cond"/>
              </a:rPr>
              <a:t>!</a:t>
            </a:r>
          </a:p>
          <a:p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Saavutasime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eesmärgiks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seatud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seedivuse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ja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maitsvuse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tasemed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,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sealhulgas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saime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paremad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tulemused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kui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 </a:t>
            </a:r>
            <a:r>
              <a:rPr lang="en-US" sz="1400" dirty="0" err="1">
                <a:solidFill>
                  <a:srgbClr val="3D3D3C"/>
                </a:solidFill>
                <a:latin typeface="DIN Pro Cond"/>
              </a:rPr>
              <a:t>konkurentidel</a:t>
            </a:r>
            <a:r>
              <a:rPr lang="en-US" sz="1400" dirty="0">
                <a:solidFill>
                  <a:srgbClr val="3D3D3C"/>
                </a:solidFill>
                <a:latin typeface="DIN Pro Cond"/>
              </a:rPr>
              <a:t>. </a:t>
            </a:r>
            <a:endParaRPr lang="fr-FR" sz="1400" dirty="0">
              <a:solidFill>
                <a:srgbClr val="3D3D3C"/>
              </a:solidFill>
              <a:latin typeface="DIN Pro Cond"/>
            </a:endParaRPr>
          </a:p>
        </p:txBody>
      </p:sp>
      <p:pic>
        <p:nvPicPr>
          <p:cNvPr id="58" name="Graphic 57" descr="Bullseye with solid fill">
            <a:extLst>
              <a:ext uri="{FF2B5EF4-FFF2-40B4-BE49-F238E27FC236}">
                <a16:creationId xmlns:a16="http://schemas.microsoft.com/office/drawing/2014/main" id="{80C5AA7B-1692-42D4-37EB-A590845096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149" y="4751787"/>
            <a:ext cx="914400" cy="9144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2495BA3A-1DB2-2D6D-C9A6-28E836214E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0107" y="1507565"/>
            <a:ext cx="326811" cy="497997"/>
          </a:xfrm>
          <a:prstGeom prst="rect">
            <a:avLst/>
          </a:prstGeom>
        </p:spPr>
      </p:pic>
      <p:pic>
        <p:nvPicPr>
          <p:cNvPr id="60" name="Picture 59" descr="A orange and a slice of lemon&#10;&#10;Description automatically generated">
            <a:extLst>
              <a:ext uri="{FF2B5EF4-FFF2-40B4-BE49-F238E27FC236}">
                <a16:creationId xmlns:a16="http://schemas.microsoft.com/office/drawing/2014/main" id="{1B52A0E8-31DF-539B-0466-B5DD83DD44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906" y="3567592"/>
            <a:ext cx="450114" cy="300076"/>
          </a:xfrm>
          <a:prstGeom prst="rect">
            <a:avLst/>
          </a:prstGeom>
        </p:spPr>
      </p:pic>
      <p:pic>
        <p:nvPicPr>
          <p:cNvPr id="61" name="Graphique 12">
            <a:extLst>
              <a:ext uri="{FF2B5EF4-FFF2-40B4-BE49-F238E27FC236}">
                <a16:creationId xmlns:a16="http://schemas.microsoft.com/office/drawing/2014/main" id="{C2AE932E-0612-0D8D-D676-D880E67C183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14074" b="33280"/>
          <a:stretch/>
        </p:blipFill>
        <p:spPr>
          <a:xfrm>
            <a:off x="681557" y="2984374"/>
            <a:ext cx="402439" cy="262711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ABC1F5FB-7F8D-633B-76F0-FDC6825A1104}"/>
              </a:ext>
            </a:extLst>
          </p:cNvPr>
          <p:cNvGrpSpPr/>
          <p:nvPr/>
        </p:nvGrpSpPr>
        <p:grpSpPr>
          <a:xfrm rot="16366588" flipH="1">
            <a:off x="-103406" y="4699599"/>
            <a:ext cx="784819" cy="540627"/>
            <a:chOff x="5953125" y="-1747271"/>
            <a:chExt cx="822325" cy="725488"/>
          </a:xfrm>
          <a:solidFill>
            <a:srgbClr val="EC001A"/>
          </a:solidFill>
        </p:grpSpPr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id="{6CC21FD2-1995-4B5E-5BA7-EB527154C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850" y="-1277371"/>
              <a:ext cx="355600" cy="255588"/>
            </a:xfrm>
            <a:custGeom>
              <a:avLst/>
              <a:gdLst>
                <a:gd name="T0" fmla="*/ 3 w 447"/>
                <a:gd name="T1" fmla="*/ 83 h 323"/>
                <a:gd name="T2" fmla="*/ 39 w 447"/>
                <a:gd name="T3" fmla="*/ 121 h 323"/>
                <a:gd name="T4" fmla="*/ 155 w 447"/>
                <a:gd name="T5" fmla="*/ 226 h 323"/>
                <a:gd name="T6" fmla="*/ 221 w 447"/>
                <a:gd name="T7" fmla="*/ 287 h 323"/>
                <a:gd name="T8" fmla="*/ 232 w 447"/>
                <a:gd name="T9" fmla="*/ 298 h 323"/>
                <a:gd name="T10" fmla="*/ 253 w 447"/>
                <a:gd name="T11" fmla="*/ 315 h 323"/>
                <a:gd name="T12" fmla="*/ 268 w 447"/>
                <a:gd name="T13" fmla="*/ 323 h 323"/>
                <a:gd name="T14" fmla="*/ 277 w 447"/>
                <a:gd name="T15" fmla="*/ 323 h 323"/>
                <a:gd name="T16" fmla="*/ 292 w 447"/>
                <a:gd name="T17" fmla="*/ 319 h 323"/>
                <a:gd name="T18" fmla="*/ 306 w 447"/>
                <a:gd name="T19" fmla="*/ 310 h 323"/>
                <a:gd name="T20" fmla="*/ 326 w 447"/>
                <a:gd name="T21" fmla="*/ 281 h 323"/>
                <a:gd name="T22" fmla="*/ 343 w 447"/>
                <a:gd name="T23" fmla="*/ 247 h 323"/>
                <a:gd name="T24" fmla="*/ 355 w 447"/>
                <a:gd name="T25" fmla="*/ 219 h 323"/>
                <a:gd name="T26" fmla="*/ 446 w 447"/>
                <a:gd name="T27" fmla="*/ 41 h 323"/>
                <a:gd name="T28" fmla="*/ 447 w 447"/>
                <a:gd name="T29" fmla="*/ 30 h 323"/>
                <a:gd name="T30" fmla="*/ 442 w 447"/>
                <a:gd name="T31" fmla="*/ 11 h 323"/>
                <a:gd name="T32" fmla="*/ 425 w 447"/>
                <a:gd name="T33" fmla="*/ 0 h 323"/>
                <a:gd name="T34" fmla="*/ 410 w 447"/>
                <a:gd name="T35" fmla="*/ 2 h 323"/>
                <a:gd name="T36" fmla="*/ 402 w 447"/>
                <a:gd name="T37" fmla="*/ 9 h 323"/>
                <a:gd name="T38" fmla="*/ 398 w 447"/>
                <a:gd name="T39" fmla="*/ 13 h 323"/>
                <a:gd name="T40" fmla="*/ 332 w 447"/>
                <a:gd name="T41" fmla="*/ 147 h 323"/>
                <a:gd name="T42" fmla="*/ 300 w 447"/>
                <a:gd name="T43" fmla="*/ 211 h 323"/>
                <a:gd name="T44" fmla="*/ 275 w 447"/>
                <a:gd name="T45" fmla="*/ 264 h 323"/>
                <a:gd name="T46" fmla="*/ 264 w 447"/>
                <a:gd name="T47" fmla="*/ 276 h 323"/>
                <a:gd name="T48" fmla="*/ 283 w 447"/>
                <a:gd name="T49" fmla="*/ 272 h 323"/>
                <a:gd name="T50" fmla="*/ 274 w 447"/>
                <a:gd name="T51" fmla="*/ 268 h 323"/>
                <a:gd name="T52" fmla="*/ 245 w 447"/>
                <a:gd name="T53" fmla="*/ 247 h 323"/>
                <a:gd name="T54" fmla="*/ 209 w 447"/>
                <a:gd name="T55" fmla="*/ 213 h 323"/>
                <a:gd name="T56" fmla="*/ 147 w 447"/>
                <a:gd name="T57" fmla="*/ 160 h 323"/>
                <a:gd name="T58" fmla="*/ 87 w 447"/>
                <a:gd name="T59" fmla="*/ 107 h 323"/>
                <a:gd name="T60" fmla="*/ 22 w 447"/>
                <a:gd name="T61" fmla="*/ 58 h 323"/>
                <a:gd name="T62" fmla="*/ 17 w 447"/>
                <a:gd name="T63" fmla="*/ 56 h 323"/>
                <a:gd name="T64" fmla="*/ 7 w 447"/>
                <a:gd name="T65" fmla="*/ 58 h 323"/>
                <a:gd name="T66" fmla="*/ 1 w 447"/>
                <a:gd name="T67" fmla="*/ 66 h 323"/>
                <a:gd name="T68" fmla="*/ 1 w 447"/>
                <a:gd name="T69" fmla="*/ 77 h 323"/>
                <a:gd name="T70" fmla="*/ 3 w 447"/>
                <a:gd name="T71" fmla="*/ 8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7" h="323">
                  <a:moveTo>
                    <a:pt x="3" y="83"/>
                  </a:moveTo>
                  <a:lnTo>
                    <a:pt x="3" y="83"/>
                  </a:lnTo>
                  <a:lnTo>
                    <a:pt x="20" y="102"/>
                  </a:lnTo>
                  <a:lnTo>
                    <a:pt x="39" y="121"/>
                  </a:lnTo>
                  <a:lnTo>
                    <a:pt x="77" y="157"/>
                  </a:lnTo>
                  <a:lnTo>
                    <a:pt x="155" y="226"/>
                  </a:lnTo>
                  <a:lnTo>
                    <a:pt x="155" y="226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32" y="298"/>
                  </a:lnTo>
                  <a:lnTo>
                    <a:pt x="245" y="310"/>
                  </a:lnTo>
                  <a:lnTo>
                    <a:pt x="253" y="315"/>
                  </a:lnTo>
                  <a:lnTo>
                    <a:pt x="260" y="319"/>
                  </a:lnTo>
                  <a:lnTo>
                    <a:pt x="268" y="323"/>
                  </a:lnTo>
                  <a:lnTo>
                    <a:pt x="277" y="323"/>
                  </a:lnTo>
                  <a:lnTo>
                    <a:pt x="277" y="323"/>
                  </a:lnTo>
                  <a:lnTo>
                    <a:pt x="285" y="321"/>
                  </a:lnTo>
                  <a:lnTo>
                    <a:pt x="292" y="319"/>
                  </a:lnTo>
                  <a:lnTo>
                    <a:pt x="298" y="315"/>
                  </a:lnTo>
                  <a:lnTo>
                    <a:pt x="306" y="310"/>
                  </a:lnTo>
                  <a:lnTo>
                    <a:pt x="317" y="298"/>
                  </a:lnTo>
                  <a:lnTo>
                    <a:pt x="326" y="281"/>
                  </a:lnTo>
                  <a:lnTo>
                    <a:pt x="336" y="264"/>
                  </a:lnTo>
                  <a:lnTo>
                    <a:pt x="343" y="247"/>
                  </a:lnTo>
                  <a:lnTo>
                    <a:pt x="355" y="219"/>
                  </a:lnTo>
                  <a:lnTo>
                    <a:pt x="355" y="219"/>
                  </a:lnTo>
                  <a:lnTo>
                    <a:pt x="446" y="41"/>
                  </a:lnTo>
                  <a:lnTo>
                    <a:pt x="446" y="41"/>
                  </a:lnTo>
                  <a:lnTo>
                    <a:pt x="447" y="36"/>
                  </a:lnTo>
                  <a:lnTo>
                    <a:pt x="447" y="30"/>
                  </a:lnTo>
                  <a:lnTo>
                    <a:pt x="447" y="19"/>
                  </a:lnTo>
                  <a:lnTo>
                    <a:pt x="442" y="11"/>
                  </a:lnTo>
                  <a:lnTo>
                    <a:pt x="434" y="3"/>
                  </a:lnTo>
                  <a:lnTo>
                    <a:pt x="425" y="0"/>
                  </a:lnTo>
                  <a:lnTo>
                    <a:pt x="415" y="0"/>
                  </a:lnTo>
                  <a:lnTo>
                    <a:pt x="410" y="2"/>
                  </a:lnTo>
                  <a:lnTo>
                    <a:pt x="406" y="5"/>
                  </a:lnTo>
                  <a:lnTo>
                    <a:pt x="402" y="9"/>
                  </a:lnTo>
                  <a:lnTo>
                    <a:pt x="398" y="13"/>
                  </a:lnTo>
                  <a:lnTo>
                    <a:pt x="398" y="13"/>
                  </a:lnTo>
                  <a:lnTo>
                    <a:pt x="332" y="147"/>
                  </a:lnTo>
                  <a:lnTo>
                    <a:pt x="332" y="147"/>
                  </a:lnTo>
                  <a:lnTo>
                    <a:pt x="300" y="211"/>
                  </a:lnTo>
                  <a:lnTo>
                    <a:pt x="300" y="211"/>
                  </a:lnTo>
                  <a:lnTo>
                    <a:pt x="285" y="245"/>
                  </a:lnTo>
                  <a:lnTo>
                    <a:pt x="275" y="264"/>
                  </a:lnTo>
                  <a:lnTo>
                    <a:pt x="270" y="270"/>
                  </a:lnTo>
                  <a:lnTo>
                    <a:pt x="264" y="276"/>
                  </a:lnTo>
                  <a:lnTo>
                    <a:pt x="264" y="276"/>
                  </a:lnTo>
                  <a:lnTo>
                    <a:pt x="283" y="272"/>
                  </a:lnTo>
                  <a:lnTo>
                    <a:pt x="283" y="272"/>
                  </a:lnTo>
                  <a:lnTo>
                    <a:pt x="274" y="268"/>
                  </a:lnTo>
                  <a:lnTo>
                    <a:pt x="264" y="262"/>
                  </a:lnTo>
                  <a:lnTo>
                    <a:pt x="245" y="247"/>
                  </a:lnTo>
                  <a:lnTo>
                    <a:pt x="226" y="228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147" y="160"/>
                  </a:lnTo>
                  <a:lnTo>
                    <a:pt x="147" y="160"/>
                  </a:lnTo>
                  <a:lnTo>
                    <a:pt x="87" y="107"/>
                  </a:lnTo>
                  <a:lnTo>
                    <a:pt x="54" y="81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1" y="56"/>
                  </a:lnTo>
                  <a:lnTo>
                    <a:pt x="7" y="58"/>
                  </a:lnTo>
                  <a:lnTo>
                    <a:pt x="3" y="62"/>
                  </a:lnTo>
                  <a:lnTo>
                    <a:pt x="1" y="66"/>
                  </a:lnTo>
                  <a:lnTo>
                    <a:pt x="0" y="71"/>
                  </a:lnTo>
                  <a:lnTo>
                    <a:pt x="1" y="77"/>
                  </a:lnTo>
                  <a:lnTo>
                    <a:pt x="3" y="83"/>
                  </a:lnTo>
                  <a:lnTo>
                    <a:pt x="3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B4502BD8-240A-54E3-95A9-89EE91899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25" y="-1747271"/>
              <a:ext cx="696913" cy="719138"/>
            </a:xfrm>
            <a:custGeom>
              <a:avLst/>
              <a:gdLst>
                <a:gd name="T0" fmla="*/ 863 w 877"/>
                <a:gd name="T1" fmla="*/ 902 h 905"/>
                <a:gd name="T2" fmla="*/ 875 w 877"/>
                <a:gd name="T3" fmla="*/ 866 h 905"/>
                <a:gd name="T4" fmla="*/ 877 w 877"/>
                <a:gd name="T5" fmla="*/ 826 h 905"/>
                <a:gd name="T6" fmla="*/ 871 w 877"/>
                <a:gd name="T7" fmla="*/ 747 h 905"/>
                <a:gd name="T8" fmla="*/ 867 w 877"/>
                <a:gd name="T9" fmla="*/ 703 h 905"/>
                <a:gd name="T10" fmla="*/ 854 w 877"/>
                <a:gd name="T11" fmla="*/ 614 h 905"/>
                <a:gd name="T12" fmla="*/ 845 w 877"/>
                <a:gd name="T13" fmla="*/ 571 h 905"/>
                <a:gd name="T14" fmla="*/ 824 w 877"/>
                <a:gd name="T15" fmla="*/ 488 h 905"/>
                <a:gd name="T16" fmla="*/ 795 w 877"/>
                <a:gd name="T17" fmla="*/ 407 h 905"/>
                <a:gd name="T18" fmla="*/ 763 w 877"/>
                <a:gd name="T19" fmla="*/ 327 h 905"/>
                <a:gd name="T20" fmla="*/ 726 w 877"/>
                <a:gd name="T21" fmla="*/ 250 h 905"/>
                <a:gd name="T22" fmla="*/ 709 w 877"/>
                <a:gd name="T23" fmla="*/ 219 h 905"/>
                <a:gd name="T24" fmla="*/ 669 w 877"/>
                <a:gd name="T25" fmla="*/ 159 h 905"/>
                <a:gd name="T26" fmla="*/ 622 w 877"/>
                <a:gd name="T27" fmla="*/ 104 h 905"/>
                <a:gd name="T28" fmla="*/ 567 w 877"/>
                <a:gd name="T29" fmla="*/ 59 h 905"/>
                <a:gd name="T30" fmla="*/ 537 w 877"/>
                <a:gd name="T31" fmla="*/ 38 h 905"/>
                <a:gd name="T32" fmla="*/ 470 w 877"/>
                <a:gd name="T33" fmla="*/ 12 h 905"/>
                <a:gd name="T34" fmla="*/ 402 w 877"/>
                <a:gd name="T35" fmla="*/ 0 h 905"/>
                <a:gd name="T36" fmla="*/ 334 w 877"/>
                <a:gd name="T37" fmla="*/ 6 h 905"/>
                <a:gd name="T38" fmla="*/ 266 w 877"/>
                <a:gd name="T39" fmla="*/ 29 h 905"/>
                <a:gd name="T40" fmla="*/ 246 w 877"/>
                <a:gd name="T41" fmla="*/ 38 h 905"/>
                <a:gd name="T42" fmla="*/ 206 w 877"/>
                <a:gd name="T43" fmla="*/ 63 h 905"/>
                <a:gd name="T44" fmla="*/ 151 w 877"/>
                <a:gd name="T45" fmla="*/ 106 h 905"/>
                <a:gd name="T46" fmla="*/ 87 w 877"/>
                <a:gd name="T47" fmla="*/ 172 h 905"/>
                <a:gd name="T48" fmla="*/ 30 w 877"/>
                <a:gd name="T49" fmla="*/ 248 h 905"/>
                <a:gd name="T50" fmla="*/ 4 w 877"/>
                <a:gd name="T51" fmla="*/ 286 h 905"/>
                <a:gd name="T52" fmla="*/ 0 w 877"/>
                <a:gd name="T53" fmla="*/ 297 h 905"/>
                <a:gd name="T54" fmla="*/ 0 w 877"/>
                <a:gd name="T55" fmla="*/ 306 h 905"/>
                <a:gd name="T56" fmla="*/ 13 w 877"/>
                <a:gd name="T57" fmla="*/ 320 h 905"/>
                <a:gd name="T58" fmla="*/ 32 w 877"/>
                <a:gd name="T59" fmla="*/ 323 h 905"/>
                <a:gd name="T60" fmla="*/ 47 w 877"/>
                <a:gd name="T61" fmla="*/ 318 h 905"/>
                <a:gd name="T62" fmla="*/ 51 w 877"/>
                <a:gd name="T63" fmla="*/ 312 h 905"/>
                <a:gd name="T64" fmla="*/ 140 w 877"/>
                <a:gd name="T65" fmla="*/ 197 h 905"/>
                <a:gd name="T66" fmla="*/ 189 w 877"/>
                <a:gd name="T67" fmla="*/ 146 h 905"/>
                <a:gd name="T68" fmla="*/ 225 w 877"/>
                <a:gd name="T69" fmla="*/ 116 h 905"/>
                <a:gd name="T70" fmla="*/ 264 w 877"/>
                <a:gd name="T71" fmla="*/ 89 h 905"/>
                <a:gd name="T72" fmla="*/ 310 w 877"/>
                <a:gd name="T73" fmla="*/ 70 h 905"/>
                <a:gd name="T74" fmla="*/ 333 w 877"/>
                <a:gd name="T75" fmla="*/ 63 h 905"/>
                <a:gd name="T76" fmla="*/ 376 w 877"/>
                <a:gd name="T77" fmla="*/ 55 h 905"/>
                <a:gd name="T78" fmla="*/ 419 w 877"/>
                <a:gd name="T79" fmla="*/ 57 h 905"/>
                <a:gd name="T80" fmla="*/ 459 w 877"/>
                <a:gd name="T81" fmla="*/ 65 h 905"/>
                <a:gd name="T82" fmla="*/ 497 w 877"/>
                <a:gd name="T83" fmla="*/ 80 h 905"/>
                <a:gd name="T84" fmla="*/ 533 w 877"/>
                <a:gd name="T85" fmla="*/ 100 h 905"/>
                <a:gd name="T86" fmla="*/ 567 w 877"/>
                <a:gd name="T87" fmla="*/ 127 h 905"/>
                <a:gd name="T88" fmla="*/ 623 w 877"/>
                <a:gd name="T89" fmla="*/ 189 h 905"/>
                <a:gd name="T90" fmla="*/ 652 w 877"/>
                <a:gd name="T91" fmla="*/ 227 h 905"/>
                <a:gd name="T92" fmla="*/ 697 w 877"/>
                <a:gd name="T93" fmla="*/ 306 h 905"/>
                <a:gd name="T94" fmla="*/ 735 w 877"/>
                <a:gd name="T95" fmla="*/ 391 h 905"/>
                <a:gd name="T96" fmla="*/ 767 w 877"/>
                <a:gd name="T97" fmla="*/ 480 h 905"/>
                <a:gd name="T98" fmla="*/ 780 w 877"/>
                <a:gd name="T99" fmla="*/ 524 h 905"/>
                <a:gd name="T100" fmla="*/ 805 w 877"/>
                <a:gd name="T101" fmla="*/ 618 h 905"/>
                <a:gd name="T102" fmla="*/ 824 w 877"/>
                <a:gd name="T103" fmla="*/ 713 h 905"/>
                <a:gd name="T104" fmla="*/ 831 w 877"/>
                <a:gd name="T105" fmla="*/ 764 h 905"/>
                <a:gd name="T106" fmla="*/ 837 w 877"/>
                <a:gd name="T107" fmla="*/ 817 h 905"/>
                <a:gd name="T108" fmla="*/ 845 w 877"/>
                <a:gd name="T109" fmla="*/ 881 h 905"/>
                <a:gd name="T110" fmla="*/ 852 w 877"/>
                <a:gd name="T111" fmla="*/ 902 h 905"/>
                <a:gd name="T112" fmla="*/ 858 w 877"/>
                <a:gd name="T113" fmla="*/ 905 h 905"/>
                <a:gd name="T114" fmla="*/ 863 w 877"/>
                <a:gd name="T115" fmla="*/ 902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905">
                  <a:moveTo>
                    <a:pt x="863" y="902"/>
                  </a:moveTo>
                  <a:lnTo>
                    <a:pt x="863" y="902"/>
                  </a:lnTo>
                  <a:lnTo>
                    <a:pt x="871" y="885"/>
                  </a:lnTo>
                  <a:lnTo>
                    <a:pt x="875" y="866"/>
                  </a:lnTo>
                  <a:lnTo>
                    <a:pt x="877" y="845"/>
                  </a:lnTo>
                  <a:lnTo>
                    <a:pt x="877" y="826"/>
                  </a:lnTo>
                  <a:lnTo>
                    <a:pt x="875" y="786"/>
                  </a:lnTo>
                  <a:lnTo>
                    <a:pt x="871" y="747"/>
                  </a:lnTo>
                  <a:lnTo>
                    <a:pt x="871" y="747"/>
                  </a:lnTo>
                  <a:lnTo>
                    <a:pt x="867" y="703"/>
                  </a:lnTo>
                  <a:lnTo>
                    <a:pt x="862" y="658"/>
                  </a:lnTo>
                  <a:lnTo>
                    <a:pt x="854" y="614"/>
                  </a:lnTo>
                  <a:lnTo>
                    <a:pt x="845" y="571"/>
                  </a:lnTo>
                  <a:lnTo>
                    <a:pt x="845" y="571"/>
                  </a:lnTo>
                  <a:lnTo>
                    <a:pt x="835" y="529"/>
                  </a:lnTo>
                  <a:lnTo>
                    <a:pt x="824" y="488"/>
                  </a:lnTo>
                  <a:lnTo>
                    <a:pt x="811" y="448"/>
                  </a:lnTo>
                  <a:lnTo>
                    <a:pt x="795" y="407"/>
                  </a:lnTo>
                  <a:lnTo>
                    <a:pt x="780" y="367"/>
                  </a:lnTo>
                  <a:lnTo>
                    <a:pt x="763" y="327"/>
                  </a:lnTo>
                  <a:lnTo>
                    <a:pt x="746" y="289"/>
                  </a:lnTo>
                  <a:lnTo>
                    <a:pt x="726" y="250"/>
                  </a:lnTo>
                  <a:lnTo>
                    <a:pt x="726" y="250"/>
                  </a:lnTo>
                  <a:lnTo>
                    <a:pt x="709" y="219"/>
                  </a:lnTo>
                  <a:lnTo>
                    <a:pt x="690" y="189"/>
                  </a:lnTo>
                  <a:lnTo>
                    <a:pt x="669" y="159"/>
                  </a:lnTo>
                  <a:lnTo>
                    <a:pt x="646" y="131"/>
                  </a:lnTo>
                  <a:lnTo>
                    <a:pt x="622" y="104"/>
                  </a:lnTo>
                  <a:lnTo>
                    <a:pt x="595" y="80"/>
                  </a:lnTo>
                  <a:lnTo>
                    <a:pt x="567" y="59"/>
                  </a:lnTo>
                  <a:lnTo>
                    <a:pt x="537" y="38"/>
                  </a:lnTo>
                  <a:lnTo>
                    <a:pt x="537" y="38"/>
                  </a:lnTo>
                  <a:lnTo>
                    <a:pt x="504" y="23"/>
                  </a:lnTo>
                  <a:lnTo>
                    <a:pt x="470" y="12"/>
                  </a:lnTo>
                  <a:lnTo>
                    <a:pt x="436" y="4"/>
                  </a:lnTo>
                  <a:lnTo>
                    <a:pt x="402" y="0"/>
                  </a:lnTo>
                  <a:lnTo>
                    <a:pt x="368" y="2"/>
                  </a:lnTo>
                  <a:lnTo>
                    <a:pt x="334" y="6"/>
                  </a:lnTo>
                  <a:lnTo>
                    <a:pt x="298" y="15"/>
                  </a:lnTo>
                  <a:lnTo>
                    <a:pt x="266" y="29"/>
                  </a:lnTo>
                  <a:lnTo>
                    <a:pt x="266" y="29"/>
                  </a:lnTo>
                  <a:lnTo>
                    <a:pt x="246" y="38"/>
                  </a:lnTo>
                  <a:lnTo>
                    <a:pt x="225" y="49"/>
                  </a:lnTo>
                  <a:lnTo>
                    <a:pt x="206" y="63"/>
                  </a:lnTo>
                  <a:lnTo>
                    <a:pt x="187" y="76"/>
                  </a:lnTo>
                  <a:lnTo>
                    <a:pt x="151" y="106"/>
                  </a:lnTo>
                  <a:lnTo>
                    <a:pt x="117" y="138"/>
                  </a:lnTo>
                  <a:lnTo>
                    <a:pt x="87" y="172"/>
                  </a:lnTo>
                  <a:lnTo>
                    <a:pt x="57" y="210"/>
                  </a:lnTo>
                  <a:lnTo>
                    <a:pt x="30" y="248"/>
                  </a:lnTo>
                  <a:lnTo>
                    <a:pt x="4" y="286"/>
                  </a:lnTo>
                  <a:lnTo>
                    <a:pt x="4" y="286"/>
                  </a:lnTo>
                  <a:lnTo>
                    <a:pt x="2" y="291"/>
                  </a:lnTo>
                  <a:lnTo>
                    <a:pt x="0" y="297"/>
                  </a:lnTo>
                  <a:lnTo>
                    <a:pt x="0" y="301"/>
                  </a:lnTo>
                  <a:lnTo>
                    <a:pt x="0" y="306"/>
                  </a:lnTo>
                  <a:lnTo>
                    <a:pt x="6" y="314"/>
                  </a:lnTo>
                  <a:lnTo>
                    <a:pt x="13" y="320"/>
                  </a:lnTo>
                  <a:lnTo>
                    <a:pt x="23" y="323"/>
                  </a:lnTo>
                  <a:lnTo>
                    <a:pt x="32" y="323"/>
                  </a:lnTo>
                  <a:lnTo>
                    <a:pt x="42" y="322"/>
                  </a:lnTo>
                  <a:lnTo>
                    <a:pt x="47" y="318"/>
                  </a:lnTo>
                  <a:lnTo>
                    <a:pt x="51" y="312"/>
                  </a:lnTo>
                  <a:lnTo>
                    <a:pt x="51" y="312"/>
                  </a:lnTo>
                  <a:lnTo>
                    <a:pt x="108" y="235"/>
                  </a:lnTo>
                  <a:lnTo>
                    <a:pt x="140" y="197"/>
                  </a:lnTo>
                  <a:lnTo>
                    <a:pt x="172" y="163"/>
                  </a:lnTo>
                  <a:lnTo>
                    <a:pt x="189" y="146"/>
                  </a:lnTo>
                  <a:lnTo>
                    <a:pt x="206" y="131"/>
                  </a:lnTo>
                  <a:lnTo>
                    <a:pt x="225" y="116"/>
                  </a:lnTo>
                  <a:lnTo>
                    <a:pt x="246" y="102"/>
                  </a:lnTo>
                  <a:lnTo>
                    <a:pt x="264" y="89"/>
                  </a:lnTo>
                  <a:lnTo>
                    <a:pt x="287" y="78"/>
                  </a:lnTo>
                  <a:lnTo>
                    <a:pt x="310" y="70"/>
                  </a:lnTo>
                  <a:lnTo>
                    <a:pt x="333" y="63"/>
                  </a:lnTo>
                  <a:lnTo>
                    <a:pt x="333" y="63"/>
                  </a:lnTo>
                  <a:lnTo>
                    <a:pt x="355" y="57"/>
                  </a:lnTo>
                  <a:lnTo>
                    <a:pt x="376" y="55"/>
                  </a:lnTo>
                  <a:lnTo>
                    <a:pt x="399" y="55"/>
                  </a:lnTo>
                  <a:lnTo>
                    <a:pt x="419" y="57"/>
                  </a:lnTo>
                  <a:lnTo>
                    <a:pt x="438" y="59"/>
                  </a:lnTo>
                  <a:lnTo>
                    <a:pt x="459" y="65"/>
                  </a:lnTo>
                  <a:lnTo>
                    <a:pt x="478" y="72"/>
                  </a:lnTo>
                  <a:lnTo>
                    <a:pt x="497" y="80"/>
                  </a:lnTo>
                  <a:lnTo>
                    <a:pt x="516" y="89"/>
                  </a:lnTo>
                  <a:lnTo>
                    <a:pt x="533" y="100"/>
                  </a:lnTo>
                  <a:lnTo>
                    <a:pt x="550" y="114"/>
                  </a:lnTo>
                  <a:lnTo>
                    <a:pt x="567" y="127"/>
                  </a:lnTo>
                  <a:lnTo>
                    <a:pt x="597" y="157"/>
                  </a:lnTo>
                  <a:lnTo>
                    <a:pt x="623" y="189"/>
                  </a:lnTo>
                  <a:lnTo>
                    <a:pt x="623" y="189"/>
                  </a:lnTo>
                  <a:lnTo>
                    <a:pt x="652" y="227"/>
                  </a:lnTo>
                  <a:lnTo>
                    <a:pt x="676" y="267"/>
                  </a:lnTo>
                  <a:lnTo>
                    <a:pt x="697" y="306"/>
                  </a:lnTo>
                  <a:lnTo>
                    <a:pt x="718" y="350"/>
                  </a:lnTo>
                  <a:lnTo>
                    <a:pt x="735" y="391"/>
                  </a:lnTo>
                  <a:lnTo>
                    <a:pt x="752" y="437"/>
                  </a:lnTo>
                  <a:lnTo>
                    <a:pt x="767" y="480"/>
                  </a:lnTo>
                  <a:lnTo>
                    <a:pt x="780" y="524"/>
                  </a:lnTo>
                  <a:lnTo>
                    <a:pt x="780" y="524"/>
                  </a:lnTo>
                  <a:lnTo>
                    <a:pt x="794" y="571"/>
                  </a:lnTo>
                  <a:lnTo>
                    <a:pt x="805" y="618"/>
                  </a:lnTo>
                  <a:lnTo>
                    <a:pt x="814" y="665"/>
                  </a:lnTo>
                  <a:lnTo>
                    <a:pt x="824" y="713"/>
                  </a:lnTo>
                  <a:lnTo>
                    <a:pt x="824" y="713"/>
                  </a:lnTo>
                  <a:lnTo>
                    <a:pt x="831" y="764"/>
                  </a:lnTo>
                  <a:lnTo>
                    <a:pt x="837" y="817"/>
                  </a:lnTo>
                  <a:lnTo>
                    <a:pt x="837" y="817"/>
                  </a:lnTo>
                  <a:lnTo>
                    <a:pt x="841" y="860"/>
                  </a:lnTo>
                  <a:lnTo>
                    <a:pt x="845" y="881"/>
                  </a:lnTo>
                  <a:lnTo>
                    <a:pt x="852" y="902"/>
                  </a:lnTo>
                  <a:lnTo>
                    <a:pt x="852" y="902"/>
                  </a:lnTo>
                  <a:lnTo>
                    <a:pt x="854" y="905"/>
                  </a:lnTo>
                  <a:lnTo>
                    <a:pt x="858" y="905"/>
                  </a:lnTo>
                  <a:lnTo>
                    <a:pt x="862" y="905"/>
                  </a:lnTo>
                  <a:lnTo>
                    <a:pt x="863" y="902"/>
                  </a:lnTo>
                  <a:lnTo>
                    <a:pt x="863" y="9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926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49467940-D355-AC13-EA2A-D9BEE338D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735" y="219425"/>
            <a:ext cx="6799197" cy="911642"/>
          </a:xfrm>
        </p:spPr>
        <p:txBody>
          <a:bodyPr/>
          <a:lstStyle/>
          <a:p>
            <a:r>
              <a:rPr lang="en-US" dirty="0"/>
              <a:t>OPTIMEERITUD SHN KOOSTISED - KUIVTOIDUD</a:t>
            </a:r>
            <a:endParaRPr lang="fr-FR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5571343-3D5C-D591-9F22-962BA405EB9A}"/>
              </a:ext>
            </a:extLst>
          </p:cNvPr>
          <p:cNvGrpSpPr/>
          <p:nvPr/>
        </p:nvGrpSpPr>
        <p:grpSpPr>
          <a:xfrm>
            <a:off x="569998" y="1652495"/>
            <a:ext cx="4701739" cy="1534705"/>
            <a:chOff x="1170192" y="5082287"/>
            <a:chExt cx="4570757" cy="1207064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5A6A95D9-5299-960A-7905-61A8F9C3B727}"/>
                </a:ext>
              </a:extLst>
            </p:cNvPr>
            <p:cNvSpPr/>
            <p:nvPr/>
          </p:nvSpPr>
          <p:spPr>
            <a:xfrm>
              <a:off x="1170192" y="5082287"/>
              <a:ext cx="4570757" cy="1207064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14" name="Text Placeholder 14">
              <a:extLst>
                <a:ext uri="{FF2B5EF4-FFF2-40B4-BE49-F238E27FC236}">
                  <a16:creationId xmlns:a16="http://schemas.microsoft.com/office/drawing/2014/main" id="{251DC2F7-4D73-AAD8-731A-C25BEA9EFB63}"/>
                </a:ext>
              </a:extLst>
            </p:cNvPr>
            <p:cNvSpPr txBox="1">
              <a:spLocks/>
            </p:cNvSpPr>
            <p:nvPr/>
          </p:nvSpPr>
          <p:spPr>
            <a:xfrm>
              <a:off x="1381434" y="5228750"/>
              <a:ext cx="4080001" cy="267071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/>
              </a:pP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VITAMIINID</a:t>
              </a:r>
              <a:endParaRPr lang="en-US" dirty="0">
                <a:ea typeface="+mn-ea"/>
              </a:endParaRPr>
            </a:p>
          </p:txBody>
        </p:sp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099EEDFE-45C7-0D63-5E39-6E2999E49975}"/>
                </a:ext>
              </a:extLst>
            </p:cNvPr>
            <p:cNvSpPr txBox="1">
              <a:spLocks/>
            </p:cNvSpPr>
            <p:nvPr/>
          </p:nvSpPr>
          <p:spPr>
            <a:xfrm>
              <a:off x="1712626" y="5570467"/>
              <a:ext cx="3807469" cy="590263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Bef>
                  <a:spcPts val="0"/>
                </a:spcBef>
                <a:spcAft>
                  <a:spcPts val="1800"/>
                </a:spcAft>
                <a:buNone/>
                <a:defRPr/>
              </a:pP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itamiin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C ja E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adapteerimin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staval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era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vanusel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Lemmiku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tervis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arvelt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kompromisse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e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  <a:latin typeface="DIN Pro Cond"/>
                </a:rPr>
                <a:t>ei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 tee!</a:t>
              </a:r>
              <a:endParaRPr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DIN Pro Cond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257828-10F2-7006-E379-B69560ECE24E}"/>
              </a:ext>
            </a:extLst>
          </p:cNvPr>
          <p:cNvGrpSpPr/>
          <p:nvPr/>
        </p:nvGrpSpPr>
        <p:grpSpPr>
          <a:xfrm>
            <a:off x="5655182" y="1645611"/>
            <a:ext cx="6536817" cy="1996437"/>
            <a:chOff x="7315301" y="3962644"/>
            <a:chExt cx="4091993" cy="2440854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62D17AC-FA2B-E45B-B546-CEDA32708AD2}"/>
                </a:ext>
              </a:extLst>
            </p:cNvPr>
            <p:cNvSpPr/>
            <p:nvPr/>
          </p:nvSpPr>
          <p:spPr>
            <a:xfrm>
              <a:off x="7315301" y="3962644"/>
              <a:ext cx="3498976" cy="1886525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13" name="Text Placeholder 14">
              <a:extLst>
                <a:ext uri="{FF2B5EF4-FFF2-40B4-BE49-F238E27FC236}">
                  <a16:creationId xmlns:a16="http://schemas.microsoft.com/office/drawing/2014/main" id="{CC82F818-C942-7E51-C4D7-C1E3F315AF0C}"/>
                </a:ext>
              </a:extLst>
            </p:cNvPr>
            <p:cNvSpPr txBox="1">
              <a:spLocks/>
            </p:cNvSpPr>
            <p:nvPr/>
          </p:nvSpPr>
          <p:spPr>
            <a:xfrm>
              <a:off x="7327293" y="4156887"/>
              <a:ext cx="4080001" cy="267070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4011A"/>
                </a:buClr>
                <a:buSzPct val="80000"/>
                <a:buFont typeface="Police système Courant"/>
                <a:buNone/>
                <a:tabLst/>
                <a:defRPr/>
              </a:pPr>
              <a:r>
                <a:rPr lang="fr-FR" sz="1400" dirty="0">
                  <a:solidFill>
                    <a:srgbClr val="EC001A"/>
                  </a:solidFill>
                  <a:latin typeface="DIN Pro"/>
                </a:rPr>
                <a:t>KRÕBIN</a:t>
              </a:r>
              <a:endParaRPr kumimoji="0" lang="fr-FR" sz="1400" b="1" i="0" u="none" strike="noStrike" kern="1200" cap="all" spc="0" normalizeH="0" baseline="0" noProof="0" dirty="0">
                <a:ln>
                  <a:noFill/>
                </a:ln>
                <a:solidFill>
                  <a:srgbClr val="EC001A"/>
                </a:solidFill>
                <a:effectLst/>
                <a:uLnTx/>
                <a:uFillTx/>
                <a:latin typeface="DIN Pro"/>
                <a:ea typeface="+mn-ea"/>
              </a:endParaRPr>
            </a:p>
          </p:txBody>
        </p:sp>
        <p:sp>
          <p:nvSpPr>
            <p:cNvPr id="20" name="Content Placeholder 2">
              <a:extLst>
                <a:ext uri="{FF2B5EF4-FFF2-40B4-BE49-F238E27FC236}">
                  <a16:creationId xmlns:a16="http://schemas.microsoft.com/office/drawing/2014/main" id="{01C79A17-E2AE-CFD3-A7BB-8D43F5C7CE3C}"/>
                </a:ext>
              </a:extLst>
            </p:cNvPr>
            <p:cNvSpPr txBox="1">
              <a:spLocks/>
            </p:cNvSpPr>
            <p:nvPr/>
          </p:nvSpPr>
          <p:spPr>
            <a:xfrm>
              <a:off x="7773391" y="4413531"/>
              <a:ext cx="3089936" cy="1989967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defPPr>
                <a:defRPr lang="fr-FR"/>
              </a:defPPr>
              <a:lvl1pPr marR="0" lvl="0" indent="0" defTabSz="515744" fontAlgn="auto">
                <a:spcBef>
                  <a:spcPts val="0"/>
                </a:spcBef>
                <a:spcAft>
                  <a:spcPts val="1800"/>
                </a:spcAft>
                <a:buClrTx/>
                <a:buSzPct val="100000"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 panose="020B0506020201010104" pitchFamily="34" charset="0"/>
                  <a:cs typeface="DINOT-Regular"/>
                </a:defRPr>
              </a:lvl1pPr>
              <a:lvl2pPr marL="838083" indent="-322340" algn="just" defTabSz="515744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>
                  <a:latin typeface="DINOT-Regular"/>
                  <a:cs typeface="DINOT-Regular"/>
                </a:defRPr>
              </a:lvl2pPr>
              <a:lvl3pPr marL="1289360" indent="-257871" algn="just" defTabSz="515744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>
                  <a:latin typeface="DINOT-Regular"/>
                  <a:cs typeface="DINOT-Regular"/>
                </a:defRPr>
              </a:lvl3pPr>
              <a:lvl4pPr marL="1805103" indent="-257871" algn="just" defTabSz="515744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>
                  <a:latin typeface="DINOT-Regular"/>
                  <a:cs typeface="DINOT-Regular"/>
                </a:defRPr>
              </a:lvl4pPr>
              <a:lvl5pPr marL="2320846" indent="-257871" algn="just" defTabSz="515744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>
                  <a:latin typeface="DINOT-Regular"/>
                  <a:cs typeface="DINOT-Regular"/>
                </a:defRPr>
              </a:lvl5pPr>
              <a:lvl6pPr marL="2836589" indent="-257871" defTabSz="515744">
                <a:spcBef>
                  <a:spcPct val="20000"/>
                </a:spcBef>
                <a:buFont typeface="Arial"/>
                <a:buChar char="•"/>
                <a:defRPr sz="2300"/>
              </a:lvl6pPr>
              <a:lvl7pPr marL="3352334" indent="-257871" defTabSz="515744">
                <a:spcBef>
                  <a:spcPct val="20000"/>
                </a:spcBef>
                <a:buFont typeface="Arial"/>
                <a:buChar char="•"/>
                <a:defRPr sz="2300"/>
              </a:lvl7pPr>
              <a:lvl8pPr marL="3868077" indent="-257871" defTabSz="515744">
                <a:spcBef>
                  <a:spcPct val="20000"/>
                </a:spcBef>
                <a:buFont typeface="Arial"/>
                <a:buChar char="•"/>
                <a:defRPr sz="2300"/>
              </a:lvl8pPr>
              <a:lvl9pPr marL="4383819" indent="-257871" defTabSz="515744">
                <a:spcBef>
                  <a:spcPct val="20000"/>
                </a:spcBef>
                <a:buFont typeface="Arial"/>
                <a:buChar char="•"/>
                <a:defRPr sz="2300"/>
              </a:lvl9pPr>
            </a:lstStyle>
            <a:p>
              <a:r>
                <a:rPr lang="en-US" dirty="0" err="1">
                  <a:latin typeface="DIN Pro Cond"/>
                </a:rPr>
                <a:t>Kõik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krõbina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suurused</a:t>
              </a:r>
              <a:r>
                <a:rPr lang="en-US" dirty="0">
                  <a:latin typeface="DIN Pro Cond"/>
                </a:rPr>
                <a:t> ja </a:t>
              </a:r>
              <a:r>
                <a:rPr lang="en-US" dirty="0" err="1">
                  <a:latin typeface="DIN Pro Cond"/>
                </a:rPr>
                <a:t>kujud</a:t>
              </a:r>
              <a:r>
                <a:rPr lang="en-US" dirty="0">
                  <a:latin typeface="DIN Pro Cond"/>
                </a:rPr>
                <a:t> on </a:t>
              </a:r>
              <a:r>
                <a:rPr lang="en-US" dirty="0" err="1">
                  <a:latin typeface="DIN Pro Cond"/>
                </a:rPr>
                <a:t>jäänud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samaks</a:t>
              </a:r>
              <a:r>
                <a:rPr lang="en-US" dirty="0">
                  <a:latin typeface="DIN Pro Cond"/>
                </a:rPr>
                <a:t> (</a:t>
              </a:r>
              <a:r>
                <a:rPr lang="en-US" dirty="0" err="1">
                  <a:latin typeface="DIN Pro Cond"/>
                </a:rPr>
                <a:t>väljaarvatud</a:t>
              </a:r>
              <a:r>
                <a:rPr lang="en-US" dirty="0">
                  <a:latin typeface="DIN Pro Cond"/>
                </a:rPr>
                <a:t> Giant Adult). </a:t>
              </a:r>
              <a:r>
                <a:rPr lang="en-US" dirty="0" err="1">
                  <a:latin typeface="DIN Pro Cond"/>
                </a:rPr>
                <a:t>Värvus</a:t>
              </a:r>
              <a:r>
                <a:rPr lang="en-US" dirty="0">
                  <a:latin typeface="DIN Pro Cond"/>
                </a:rPr>
                <a:t> </a:t>
              </a:r>
              <a:r>
                <a:rPr lang="en-US" dirty="0" err="1">
                  <a:latin typeface="DIN Pro Cond"/>
                </a:rPr>
                <a:t>võib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võrreldes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vana</a:t>
              </a:r>
              <a:r>
                <a:rPr lang="en-US" dirty="0">
                  <a:latin typeface="DIN Pro Cond"/>
                </a:rPr>
                <a:t> </a:t>
              </a:r>
              <a:r>
                <a:rPr lang="en-US" dirty="0" err="1">
                  <a:latin typeface="DIN Pro Cond"/>
                </a:rPr>
                <a:t>koostisega</a:t>
              </a:r>
              <a:r>
                <a:rPr lang="en-US" dirty="0">
                  <a:latin typeface="DIN Pro Cond"/>
                </a:rPr>
                <a:t> </a:t>
              </a:r>
              <a:r>
                <a:rPr lang="en-US" dirty="0" err="1">
                  <a:latin typeface="DIN Pro Cond"/>
                </a:rPr>
                <a:t>kõrbinaga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kergelt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varieeruda</a:t>
              </a:r>
              <a:r>
                <a:rPr lang="en-US" dirty="0">
                  <a:latin typeface="DIN Pro Cond"/>
                </a:rPr>
                <a:t>, </a:t>
              </a:r>
              <a:r>
                <a:rPr lang="en-US" dirty="0" err="1">
                  <a:latin typeface="DIN Pro Cond"/>
                </a:rPr>
                <a:t>kuid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värv</a:t>
              </a:r>
              <a:r>
                <a:rPr lang="en-US" dirty="0">
                  <a:latin typeface="DIN Pro Cond"/>
                </a:rPr>
                <a:t> </a:t>
              </a:r>
              <a:r>
                <a:rPr lang="en-US" dirty="0" err="1">
                  <a:latin typeface="DIN Pro Cond"/>
                </a:rPr>
                <a:t>sõltub</a:t>
              </a:r>
              <a:r>
                <a:rPr lang="en-US" dirty="0">
                  <a:latin typeface="DIN Pro Cond"/>
                </a:rPr>
                <a:t> ka </a:t>
              </a:r>
              <a:r>
                <a:rPr lang="en-US" dirty="0" err="1">
                  <a:latin typeface="DIN Pro Cond"/>
                </a:rPr>
                <a:t>tooraine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päritolust</a:t>
              </a:r>
              <a:r>
                <a:rPr lang="en-US" dirty="0">
                  <a:latin typeface="DIN Pro Cond"/>
                </a:rPr>
                <a:t>. See pole </a:t>
              </a:r>
              <a:r>
                <a:rPr lang="en-US" dirty="0" err="1">
                  <a:latin typeface="DIN Pro Cond"/>
                </a:rPr>
                <a:t>uus</a:t>
              </a:r>
              <a:r>
                <a:rPr lang="en-US" dirty="0">
                  <a:latin typeface="DIN Pro Cond"/>
                </a:rPr>
                <a:t> info ja </a:t>
              </a:r>
              <a:r>
                <a:rPr lang="en-US" dirty="0" err="1">
                  <a:latin typeface="DIN Pro Cond"/>
                </a:rPr>
                <a:t>ei</a:t>
              </a:r>
              <a:r>
                <a:rPr lang="en-US" dirty="0">
                  <a:latin typeface="DIN Pro Cond"/>
                </a:rPr>
                <a:t> ole </a:t>
              </a:r>
              <a:r>
                <a:rPr lang="en-US" dirty="0" err="1">
                  <a:latin typeface="DIN Pro Cond"/>
                </a:rPr>
                <a:t>seotud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ainult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SHNiga</a:t>
              </a:r>
              <a:r>
                <a:rPr lang="en-US" dirty="0">
                  <a:latin typeface="DIN Pro Cond"/>
                </a:rPr>
                <a:t>, </a:t>
              </a:r>
              <a:r>
                <a:rPr lang="en-US" dirty="0" err="1">
                  <a:latin typeface="DIN Pro Cond"/>
                </a:rPr>
                <a:t>sest</a:t>
              </a:r>
              <a:r>
                <a:rPr lang="en-US" dirty="0">
                  <a:latin typeface="DIN Pro Cond"/>
                </a:rPr>
                <a:t> see </a:t>
              </a:r>
              <a:r>
                <a:rPr lang="en-US" dirty="0" err="1">
                  <a:latin typeface="DIN Pro Cond"/>
                </a:rPr>
                <a:t>sõltub</a:t>
              </a:r>
              <a:r>
                <a:rPr lang="en-US" dirty="0">
                  <a:latin typeface="DIN Pro Cond"/>
                </a:rPr>
                <a:t> </a:t>
              </a:r>
              <a:r>
                <a:rPr lang="en-US" dirty="0" err="1">
                  <a:latin typeface="DIN Pro Cond"/>
                </a:rPr>
                <a:t>tehastest</a:t>
              </a:r>
              <a:r>
                <a:rPr lang="en-US" dirty="0">
                  <a:latin typeface="DIN Pro Cond"/>
                </a:rPr>
                <a:t> ja </a:t>
              </a:r>
              <a:r>
                <a:rPr lang="en-US" dirty="0" err="1">
                  <a:latin typeface="DIN Pro Cond"/>
                </a:rPr>
                <a:t>tooraine</a:t>
              </a:r>
              <a:r>
                <a:rPr lang="en-US" dirty="0">
                  <a:latin typeface="DIN Pro Cond"/>
                </a:rPr>
                <a:t> </a:t>
              </a:r>
              <a:r>
                <a:rPr lang="en-US" dirty="0" err="1">
                  <a:latin typeface="DIN Pro Cond"/>
                </a:rPr>
                <a:t>allikatest</a:t>
              </a:r>
              <a:r>
                <a:rPr lang="en-US" dirty="0">
                  <a:latin typeface="DIN Pro Cond"/>
                </a:rPr>
                <a:t>. </a:t>
              </a:r>
              <a:endParaRPr lang="en-US" dirty="0"/>
            </a:p>
            <a:p>
              <a:endParaRPr lang="en-US" dirty="0"/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6F222F89-9622-7F56-4B1B-4F9AED57E7D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15234" b="-718"/>
          <a:stretch/>
        </p:blipFill>
        <p:spPr>
          <a:xfrm>
            <a:off x="5799672" y="2294323"/>
            <a:ext cx="490701" cy="43779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BA6178E-4542-F10F-EED7-FB45F8F404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998" y="4389932"/>
            <a:ext cx="10796952" cy="136562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5B01831-66B9-A6E8-1D51-F5C5AF1815A7}"/>
              </a:ext>
            </a:extLst>
          </p:cNvPr>
          <p:cNvSpPr txBox="1"/>
          <p:nvPr/>
        </p:nvSpPr>
        <p:spPr>
          <a:xfrm>
            <a:off x="2173906" y="4580300"/>
            <a:ext cx="7742231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+mn-lt"/>
                <a:cs typeface="+mn-lt"/>
              </a:rPr>
              <a:t>UUENDANDATUD KOOSTISE TUGEVAD TOOTEOMADUSE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lt"/>
                <a:cs typeface="+mn-lt"/>
              </a:rPr>
              <a:t>!</a:t>
            </a:r>
            <a:endParaRPr lang="en-US" sz="1600" dirty="0">
              <a:solidFill>
                <a:schemeClr val="tx2"/>
              </a:solidFill>
              <a:ea typeface="+mn-lt"/>
              <a:cs typeface="+mn-lt"/>
            </a:endParaRPr>
          </a:p>
          <a:p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Saavutasime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eesmärgiks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seatud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seedivuse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ja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maitsvuse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tasem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ea typeface="+mn-lt"/>
                <a:cs typeface="+mn-lt"/>
              </a:rPr>
              <a:t>,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sealhulgas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saime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paremad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tulemused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kui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 </a:t>
            </a:r>
            <a:r>
              <a:rPr lang="en-US" sz="1400" dirty="0" err="1">
                <a:solidFill>
                  <a:srgbClr val="3D3D3C"/>
                </a:solidFill>
                <a:ea typeface="+mn-lt"/>
                <a:cs typeface="+mn-lt"/>
              </a:rPr>
              <a:t>konkurentidel</a:t>
            </a:r>
            <a:r>
              <a:rPr lang="en-US" sz="1400" dirty="0">
                <a:solidFill>
                  <a:srgbClr val="3D3D3C"/>
                </a:solidFill>
                <a:ea typeface="+mn-lt"/>
                <a:cs typeface="+mn-lt"/>
              </a:rPr>
              <a:t>. </a:t>
            </a:r>
            <a:endParaRPr lang="fr-FR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60217CF-D15F-581B-7000-8F2CBC7FA43F}"/>
              </a:ext>
            </a:extLst>
          </p:cNvPr>
          <p:cNvGrpSpPr/>
          <p:nvPr/>
        </p:nvGrpSpPr>
        <p:grpSpPr>
          <a:xfrm rot="16366588" flipH="1">
            <a:off x="-103406" y="4699599"/>
            <a:ext cx="784819" cy="540627"/>
            <a:chOff x="5953125" y="-1747271"/>
            <a:chExt cx="822325" cy="725488"/>
          </a:xfrm>
          <a:solidFill>
            <a:srgbClr val="EC001A"/>
          </a:solidFill>
        </p:grpSpPr>
        <p:sp>
          <p:nvSpPr>
            <p:cNvPr id="39" name="Freeform 55">
              <a:extLst>
                <a:ext uri="{FF2B5EF4-FFF2-40B4-BE49-F238E27FC236}">
                  <a16:creationId xmlns:a16="http://schemas.microsoft.com/office/drawing/2014/main" id="{A2CB5EAC-FE8C-96D1-E3B8-30DB66878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850" y="-1277371"/>
              <a:ext cx="355600" cy="255588"/>
            </a:xfrm>
            <a:custGeom>
              <a:avLst/>
              <a:gdLst>
                <a:gd name="T0" fmla="*/ 3 w 447"/>
                <a:gd name="T1" fmla="*/ 83 h 323"/>
                <a:gd name="T2" fmla="*/ 39 w 447"/>
                <a:gd name="T3" fmla="*/ 121 h 323"/>
                <a:gd name="T4" fmla="*/ 155 w 447"/>
                <a:gd name="T5" fmla="*/ 226 h 323"/>
                <a:gd name="T6" fmla="*/ 221 w 447"/>
                <a:gd name="T7" fmla="*/ 287 h 323"/>
                <a:gd name="T8" fmla="*/ 232 w 447"/>
                <a:gd name="T9" fmla="*/ 298 h 323"/>
                <a:gd name="T10" fmla="*/ 253 w 447"/>
                <a:gd name="T11" fmla="*/ 315 h 323"/>
                <a:gd name="T12" fmla="*/ 268 w 447"/>
                <a:gd name="T13" fmla="*/ 323 h 323"/>
                <a:gd name="T14" fmla="*/ 277 w 447"/>
                <a:gd name="T15" fmla="*/ 323 h 323"/>
                <a:gd name="T16" fmla="*/ 292 w 447"/>
                <a:gd name="T17" fmla="*/ 319 h 323"/>
                <a:gd name="T18" fmla="*/ 306 w 447"/>
                <a:gd name="T19" fmla="*/ 310 h 323"/>
                <a:gd name="T20" fmla="*/ 326 w 447"/>
                <a:gd name="T21" fmla="*/ 281 h 323"/>
                <a:gd name="T22" fmla="*/ 343 w 447"/>
                <a:gd name="T23" fmla="*/ 247 h 323"/>
                <a:gd name="T24" fmla="*/ 355 w 447"/>
                <a:gd name="T25" fmla="*/ 219 h 323"/>
                <a:gd name="T26" fmla="*/ 446 w 447"/>
                <a:gd name="T27" fmla="*/ 41 h 323"/>
                <a:gd name="T28" fmla="*/ 447 w 447"/>
                <a:gd name="T29" fmla="*/ 30 h 323"/>
                <a:gd name="T30" fmla="*/ 442 w 447"/>
                <a:gd name="T31" fmla="*/ 11 h 323"/>
                <a:gd name="T32" fmla="*/ 425 w 447"/>
                <a:gd name="T33" fmla="*/ 0 h 323"/>
                <a:gd name="T34" fmla="*/ 410 w 447"/>
                <a:gd name="T35" fmla="*/ 2 h 323"/>
                <a:gd name="T36" fmla="*/ 402 w 447"/>
                <a:gd name="T37" fmla="*/ 9 h 323"/>
                <a:gd name="T38" fmla="*/ 398 w 447"/>
                <a:gd name="T39" fmla="*/ 13 h 323"/>
                <a:gd name="T40" fmla="*/ 332 w 447"/>
                <a:gd name="T41" fmla="*/ 147 h 323"/>
                <a:gd name="T42" fmla="*/ 300 w 447"/>
                <a:gd name="T43" fmla="*/ 211 h 323"/>
                <a:gd name="T44" fmla="*/ 275 w 447"/>
                <a:gd name="T45" fmla="*/ 264 h 323"/>
                <a:gd name="T46" fmla="*/ 264 w 447"/>
                <a:gd name="T47" fmla="*/ 276 h 323"/>
                <a:gd name="T48" fmla="*/ 283 w 447"/>
                <a:gd name="T49" fmla="*/ 272 h 323"/>
                <a:gd name="T50" fmla="*/ 274 w 447"/>
                <a:gd name="T51" fmla="*/ 268 h 323"/>
                <a:gd name="T52" fmla="*/ 245 w 447"/>
                <a:gd name="T53" fmla="*/ 247 h 323"/>
                <a:gd name="T54" fmla="*/ 209 w 447"/>
                <a:gd name="T55" fmla="*/ 213 h 323"/>
                <a:gd name="T56" fmla="*/ 147 w 447"/>
                <a:gd name="T57" fmla="*/ 160 h 323"/>
                <a:gd name="T58" fmla="*/ 87 w 447"/>
                <a:gd name="T59" fmla="*/ 107 h 323"/>
                <a:gd name="T60" fmla="*/ 22 w 447"/>
                <a:gd name="T61" fmla="*/ 58 h 323"/>
                <a:gd name="T62" fmla="*/ 17 w 447"/>
                <a:gd name="T63" fmla="*/ 56 h 323"/>
                <a:gd name="T64" fmla="*/ 7 w 447"/>
                <a:gd name="T65" fmla="*/ 58 h 323"/>
                <a:gd name="T66" fmla="*/ 1 w 447"/>
                <a:gd name="T67" fmla="*/ 66 h 323"/>
                <a:gd name="T68" fmla="*/ 1 w 447"/>
                <a:gd name="T69" fmla="*/ 77 h 323"/>
                <a:gd name="T70" fmla="*/ 3 w 447"/>
                <a:gd name="T71" fmla="*/ 8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7" h="323">
                  <a:moveTo>
                    <a:pt x="3" y="83"/>
                  </a:moveTo>
                  <a:lnTo>
                    <a:pt x="3" y="83"/>
                  </a:lnTo>
                  <a:lnTo>
                    <a:pt x="20" y="102"/>
                  </a:lnTo>
                  <a:lnTo>
                    <a:pt x="39" y="121"/>
                  </a:lnTo>
                  <a:lnTo>
                    <a:pt x="77" y="157"/>
                  </a:lnTo>
                  <a:lnTo>
                    <a:pt x="155" y="226"/>
                  </a:lnTo>
                  <a:lnTo>
                    <a:pt x="155" y="226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32" y="298"/>
                  </a:lnTo>
                  <a:lnTo>
                    <a:pt x="245" y="310"/>
                  </a:lnTo>
                  <a:lnTo>
                    <a:pt x="253" y="315"/>
                  </a:lnTo>
                  <a:lnTo>
                    <a:pt x="260" y="319"/>
                  </a:lnTo>
                  <a:lnTo>
                    <a:pt x="268" y="323"/>
                  </a:lnTo>
                  <a:lnTo>
                    <a:pt x="277" y="323"/>
                  </a:lnTo>
                  <a:lnTo>
                    <a:pt x="277" y="323"/>
                  </a:lnTo>
                  <a:lnTo>
                    <a:pt x="285" y="321"/>
                  </a:lnTo>
                  <a:lnTo>
                    <a:pt x="292" y="319"/>
                  </a:lnTo>
                  <a:lnTo>
                    <a:pt x="298" y="315"/>
                  </a:lnTo>
                  <a:lnTo>
                    <a:pt x="306" y="310"/>
                  </a:lnTo>
                  <a:lnTo>
                    <a:pt x="317" y="298"/>
                  </a:lnTo>
                  <a:lnTo>
                    <a:pt x="326" y="281"/>
                  </a:lnTo>
                  <a:lnTo>
                    <a:pt x="336" y="264"/>
                  </a:lnTo>
                  <a:lnTo>
                    <a:pt x="343" y="247"/>
                  </a:lnTo>
                  <a:lnTo>
                    <a:pt x="355" y="219"/>
                  </a:lnTo>
                  <a:lnTo>
                    <a:pt x="355" y="219"/>
                  </a:lnTo>
                  <a:lnTo>
                    <a:pt x="446" y="41"/>
                  </a:lnTo>
                  <a:lnTo>
                    <a:pt x="446" y="41"/>
                  </a:lnTo>
                  <a:lnTo>
                    <a:pt x="447" y="36"/>
                  </a:lnTo>
                  <a:lnTo>
                    <a:pt x="447" y="30"/>
                  </a:lnTo>
                  <a:lnTo>
                    <a:pt x="447" y="19"/>
                  </a:lnTo>
                  <a:lnTo>
                    <a:pt x="442" y="11"/>
                  </a:lnTo>
                  <a:lnTo>
                    <a:pt x="434" y="3"/>
                  </a:lnTo>
                  <a:lnTo>
                    <a:pt x="425" y="0"/>
                  </a:lnTo>
                  <a:lnTo>
                    <a:pt x="415" y="0"/>
                  </a:lnTo>
                  <a:lnTo>
                    <a:pt x="410" y="2"/>
                  </a:lnTo>
                  <a:lnTo>
                    <a:pt x="406" y="5"/>
                  </a:lnTo>
                  <a:lnTo>
                    <a:pt x="402" y="9"/>
                  </a:lnTo>
                  <a:lnTo>
                    <a:pt x="398" y="13"/>
                  </a:lnTo>
                  <a:lnTo>
                    <a:pt x="398" y="13"/>
                  </a:lnTo>
                  <a:lnTo>
                    <a:pt x="332" y="147"/>
                  </a:lnTo>
                  <a:lnTo>
                    <a:pt x="332" y="147"/>
                  </a:lnTo>
                  <a:lnTo>
                    <a:pt x="300" y="211"/>
                  </a:lnTo>
                  <a:lnTo>
                    <a:pt x="300" y="211"/>
                  </a:lnTo>
                  <a:lnTo>
                    <a:pt x="285" y="245"/>
                  </a:lnTo>
                  <a:lnTo>
                    <a:pt x="275" y="264"/>
                  </a:lnTo>
                  <a:lnTo>
                    <a:pt x="270" y="270"/>
                  </a:lnTo>
                  <a:lnTo>
                    <a:pt x="264" y="276"/>
                  </a:lnTo>
                  <a:lnTo>
                    <a:pt x="264" y="276"/>
                  </a:lnTo>
                  <a:lnTo>
                    <a:pt x="283" y="272"/>
                  </a:lnTo>
                  <a:lnTo>
                    <a:pt x="283" y="272"/>
                  </a:lnTo>
                  <a:lnTo>
                    <a:pt x="274" y="268"/>
                  </a:lnTo>
                  <a:lnTo>
                    <a:pt x="264" y="262"/>
                  </a:lnTo>
                  <a:lnTo>
                    <a:pt x="245" y="247"/>
                  </a:lnTo>
                  <a:lnTo>
                    <a:pt x="226" y="228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147" y="160"/>
                  </a:lnTo>
                  <a:lnTo>
                    <a:pt x="147" y="160"/>
                  </a:lnTo>
                  <a:lnTo>
                    <a:pt x="87" y="107"/>
                  </a:lnTo>
                  <a:lnTo>
                    <a:pt x="54" y="81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1" y="56"/>
                  </a:lnTo>
                  <a:lnTo>
                    <a:pt x="7" y="58"/>
                  </a:lnTo>
                  <a:lnTo>
                    <a:pt x="3" y="62"/>
                  </a:lnTo>
                  <a:lnTo>
                    <a:pt x="1" y="66"/>
                  </a:lnTo>
                  <a:lnTo>
                    <a:pt x="0" y="71"/>
                  </a:lnTo>
                  <a:lnTo>
                    <a:pt x="1" y="77"/>
                  </a:lnTo>
                  <a:lnTo>
                    <a:pt x="3" y="83"/>
                  </a:lnTo>
                  <a:lnTo>
                    <a:pt x="3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56">
              <a:extLst>
                <a:ext uri="{FF2B5EF4-FFF2-40B4-BE49-F238E27FC236}">
                  <a16:creationId xmlns:a16="http://schemas.microsoft.com/office/drawing/2014/main" id="{4639A4D7-0231-5FD7-0135-CFA85411E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25" y="-1747271"/>
              <a:ext cx="696913" cy="719138"/>
            </a:xfrm>
            <a:custGeom>
              <a:avLst/>
              <a:gdLst>
                <a:gd name="T0" fmla="*/ 863 w 877"/>
                <a:gd name="T1" fmla="*/ 902 h 905"/>
                <a:gd name="T2" fmla="*/ 875 w 877"/>
                <a:gd name="T3" fmla="*/ 866 h 905"/>
                <a:gd name="T4" fmla="*/ 877 w 877"/>
                <a:gd name="T5" fmla="*/ 826 h 905"/>
                <a:gd name="T6" fmla="*/ 871 w 877"/>
                <a:gd name="T7" fmla="*/ 747 h 905"/>
                <a:gd name="T8" fmla="*/ 867 w 877"/>
                <a:gd name="T9" fmla="*/ 703 h 905"/>
                <a:gd name="T10" fmla="*/ 854 w 877"/>
                <a:gd name="T11" fmla="*/ 614 h 905"/>
                <a:gd name="T12" fmla="*/ 845 w 877"/>
                <a:gd name="T13" fmla="*/ 571 h 905"/>
                <a:gd name="T14" fmla="*/ 824 w 877"/>
                <a:gd name="T15" fmla="*/ 488 h 905"/>
                <a:gd name="T16" fmla="*/ 795 w 877"/>
                <a:gd name="T17" fmla="*/ 407 h 905"/>
                <a:gd name="T18" fmla="*/ 763 w 877"/>
                <a:gd name="T19" fmla="*/ 327 h 905"/>
                <a:gd name="T20" fmla="*/ 726 w 877"/>
                <a:gd name="T21" fmla="*/ 250 h 905"/>
                <a:gd name="T22" fmla="*/ 709 w 877"/>
                <a:gd name="T23" fmla="*/ 219 h 905"/>
                <a:gd name="T24" fmla="*/ 669 w 877"/>
                <a:gd name="T25" fmla="*/ 159 h 905"/>
                <a:gd name="T26" fmla="*/ 622 w 877"/>
                <a:gd name="T27" fmla="*/ 104 h 905"/>
                <a:gd name="T28" fmla="*/ 567 w 877"/>
                <a:gd name="T29" fmla="*/ 59 h 905"/>
                <a:gd name="T30" fmla="*/ 537 w 877"/>
                <a:gd name="T31" fmla="*/ 38 h 905"/>
                <a:gd name="T32" fmla="*/ 470 w 877"/>
                <a:gd name="T33" fmla="*/ 12 h 905"/>
                <a:gd name="T34" fmla="*/ 402 w 877"/>
                <a:gd name="T35" fmla="*/ 0 h 905"/>
                <a:gd name="T36" fmla="*/ 334 w 877"/>
                <a:gd name="T37" fmla="*/ 6 h 905"/>
                <a:gd name="T38" fmla="*/ 266 w 877"/>
                <a:gd name="T39" fmla="*/ 29 h 905"/>
                <a:gd name="T40" fmla="*/ 246 w 877"/>
                <a:gd name="T41" fmla="*/ 38 h 905"/>
                <a:gd name="T42" fmla="*/ 206 w 877"/>
                <a:gd name="T43" fmla="*/ 63 h 905"/>
                <a:gd name="T44" fmla="*/ 151 w 877"/>
                <a:gd name="T45" fmla="*/ 106 h 905"/>
                <a:gd name="T46" fmla="*/ 87 w 877"/>
                <a:gd name="T47" fmla="*/ 172 h 905"/>
                <a:gd name="T48" fmla="*/ 30 w 877"/>
                <a:gd name="T49" fmla="*/ 248 h 905"/>
                <a:gd name="T50" fmla="*/ 4 w 877"/>
                <a:gd name="T51" fmla="*/ 286 h 905"/>
                <a:gd name="T52" fmla="*/ 0 w 877"/>
                <a:gd name="T53" fmla="*/ 297 h 905"/>
                <a:gd name="T54" fmla="*/ 0 w 877"/>
                <a:gd name="T55" fmla="*/ 306 h 905"/>
                <a:gd name="T56" fmla="*/ 13 w 877"/>
                <a:gd name="T57" fmla="*/ 320 h 905"/>
                <a:gd name="T58" fmla="*/ 32 w 877"/>
                <a:gd name="T59" fmla="*/ 323 h 905"/>
                <a:gd name="T60" fmla="*/ 47 w 877"/>
                <a:gd name="T61" fmla="*/ 318 h 905"/>
                <a:gd name="T62" fmla="*/ 51 w 877"/>
                <a:gd name="T63" fmla="*/ 312 h 905"/>
                <a:gd name="T64" fmla="*/ 140 w 877"/>
                <a:gd name="T65" fmla="*/ 197 h 905"/>
                <a:gd name="T66" fmla="*/ 189 w 877"/>
                <a:gd name="T67" fmla="*/ 146 h 905"/>
                <a:gd name="T68" fmla="*/ 225 w 877"/>
                <a:gd name="T69" fmla="*/ 116 h 905"/>
                <a:gd name="T70" fmla="*/ 264 w 877"/>
                <a:gd name="T71" fmla="*/ 89 h 905"/>
                <a:gd name="T72" fmla="*/ 310 w 877"/>
                <a:gd name="T73" fmla="*/ 70 h 905"/>
                <a:gd name="T74" fmla="*/ 333 w 877"/>
                <a:gd name="T75" fmla="*/ 63 h 905"/>
                <a:gd name="T76" fmla="*/ 376 w 877"/>
                <a:gd name="T77" fmla="*/ 55 h 905"/>
                <a:gd name="T78" fmla="*/ 419 w 877"/>
                <a:gd name="T79" fmla="*/ 57 h 905"/>
                <a:gd name="T80" fmla="*/ 459 w 877"/>
                <a:gd name="T81" fmla="*/ 65 h 905"/>
                <a:gd name="T82" fmla="*/ 497 w 877"/>
                <a:gd name="T83" fmla="*/ 80 h 905"/>
                <a:gd name="T84" fmla="*/ 533 w 877"/>
                <a:gd name="T85" fmla="*/ 100 h 905"/>
                <a:gd name="T86" fmla="*/ 567 w 877"/>
                <a:gd name="T87" fmla="*/ 127 h 905"/>
                <a:gd name="T88" fmla="*/ 623 w 877"/>
                <a:gd name="T89" fmla="*/ 189 h 905"/>
                <a:gd name="T90" fmla="*/ 652 w 877"/>
                <a:gd name="T91" fmla="*/ 227 h 905"/>
                <a:gd name="T92" fmla="*/ 697 w 877"/>
                <a:gd name="T93" fmla="*/ 306 h 905"/>
                <a:gd name="T94" fmla="*/ 735 w 877"/>
                <a:gd name="T95" fmla="*/ 391 h 905"/>
                <a:gd name="T96" fmla="*/ 767 w 877"/>
                <a:gd name="T97" fmla="*/ 480 h 905"/>
                <a:gd name="T98" fmla="*/ 780 w 877"/>
                <a:gd name="T99" fmla="*/ 524 h 905"/>
                <a:gd name="T100" fmla="*/ 805 w 877"/>
                <a:gd name="T101" fmla="*/ 618 h 905"/>
                <a:gd name="T102" fmla="*/ 824 w 877"/>
                <a:gd name="T103" fmla="*/ 713 h 905"/>
                <a:gd name="T104" fmla="*/ 831 w 877"/>
                <a:gd name="T105" fmla="*/ 764 h 905"/>
                <a:gd name="T106" fmla="*/ 837 w 877"/>
                <a:gd name="T107" fmla="*/ 817 h 905"/>
                <a:gd name="T108" fmla="*/ 845 w 877"/>
                <a:gd name="T109" fmla="*/ 881 h 905"/>
                <a:gd name="T110" fmla="*/ 852 w 877"/>
                <a:gd name="T111" fmla="*/ 902 h 905"/>
                <a:gd name="T112" fmla="*/ 858 w 877"/>
                <a:gd name="T113" fmla="*/ 905 h 905"/>
                <a:gd name="T114" fmla="*/ 863 w 877"/>
                <a:gd name="T115" fmla="*/ 902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905">
                  <a:moveTo>
                    <a:pt x="863" y="902"/>
                  </a:moveTo>
                  <a:lnTo>
                    <a:pt x="863" y="902"/>
                  </a:lnTo>
                  <a:lnTo>
                    <a:pt x="871" y="885"/>
                  </a:lnTo>
                  <a:lnTo>
                    <a:pt x="875" y="866"/>
                  </a:lnTo>
                  <a:lnTo>
                    <a:pt x="877" y="845"/>
                  </a:lnTo>
                  <a:lnTo>
                    <a:pt x="877" y="826"/>
                  </a:lnTo>
                  <a:lnTo>
                    <a:pt x="875" y="786"/>
                  </a:lnTo>
                  <a:lnTo>
                    <a:pt x="871" y="747"/>
                  </a:lnTo>
                  <a:lnTo>
                    <a:pt x="871" y="747"/>
                  </a:lnTo>
                  <a:lnTo>
                    <a:pt x="867" y="703"/>
                  </a:lnTo>
                  <a:lnTo>
                    <a:pt x="862" y="658"/>
                  </a:lnTo>
                  <a:lnTo>
                    <a:pt x="854" y="614"/>
                  </a:lnTo>
                  <a:lnTo>
                    <a:pt x="845" y="571"/>
                  </a:lnTo>
                  <a:lnTo>
                    <a:pt x="845" y="571"/>
                  </a:lnTo>
                  <a:lnTo>
                    <a:pt x="835" y="529"/>
                  </a:lnTo>
                  <a:lnTo>
                    <a:pt x="824" y="488"/>
                  </a:lnTo>
                  <a:lnTo>
                    <a:pt x="811" y="448"/>
                  </a:lnTo>
                  <a:lnTo>
                    <a:pt x="795" y="407"/>
                  </a:lnTo>
                  <a:lnTo>
                    <a:pt x="780" y="367"/>
                  </a:lnTo>
                  <a:lnTo>
                    <a:pt x="763" y="327"/>
                  </a:lnTo>
                  <a:lnTo>
                    <a:pt x="746" y="289"/>
                  </a:lnTo>
                  <a:lnTo>
                    <a:pt x="726" y="250"/>
                  </a:lnTo>
                  <a:lnTo>
                    <a:pt x="726" y="250"/>
                  </a:lnTo>
                  <a:lnTo>
                    <a:pt x="709" y="219"/>
                  </a:lnTo>
                  <a:lnTo>
                    <a:pt x="690" y="189"/>
                  </a:lnTo>
                  <a:lnTo>
                    <a:pt x="669" y="159"/>
                  </a:lnTo>
                  <a:lnTo>
                    <a:pt x="646" y="131"/>
                  </a:lnTo>
                  <a:lnTo>
                    <a:pt x="622" y="104"/>
                  </a:lnTo>
                  <a:lnTo>
                    <a:pt x="595" y="80"/>
                  </a:lnTo>
                  <a:lnTo>
                    <a:pt x="567" y="59"/>
                  </a:lnTo>
                  <a:lnTo>
                    <a:pt x="537" y="38"/>
                  </a:lnTo>
                  <a:lnTo>
                    <a:pt x="537" y="38"/>
                  </a:lnTo>
                  <a:lnTo>
                    <a:pt x="504" y="23"/>
                  </a:lnTo>
                  <a:lnTo>
                    <a:pt x="470" y="12"/>
                  </a:lnTo>
                  <a:lnTo>
                    <a:pt x="436" y="4"/>
                  </a:lnTo>
                  <a:lnTo>
                    <a:pt x="402" y="0"/>
                  </a:lnTo>
                  <a:lnTo>
                    <a:pt x="368" y="2"/>
                  </a:lnTo>
                  <a:lnTo>
                    <a:pt x="334" y="6"/>
                  </a:lnTo>
                  <a:lnTo>
                    <a:pt x="298" y="15"/>
                  </a:lnTo>
                  <a:lnTo>
                    <a:pt x="266" y="29"/>
                  </a:lnTo>
                  <a:lnTo>
                    <a:pt x="266" y="29"/>
                  </a:lnTo>
                  <a:lnTo>
                    <a:pt x="246" y="38"/>
                  </a:lnTo>
                  <a:lnTo>
                    <a:pt x="225" y="49"/>
                  </a:lnTo>
                  <a:lnTo>
                    <a:pt x="206" y="63"/>
                  </a:lnTo>
                  <a:lnTo>
                    <a:pt x="187" y="76"/>
                  </a:lnTo>
                  <a:lnTo>
                    <a:pt x="151" y="106"/>
                  </a:lnTo>
                  <a:lnTo>
                    <a:pt x="117" y="138"/>
                  </a:lnTo>
                  <a:lnTo>
                    <a:pt x="87" y="172"/>
                  </a:lnTo>
                  <a:lnTo>
                    <a:pt x="57" y="210"/>
                  </a:lnTo>
                  <a:lnTo>
                    <a:pt x="30" y="248"/>
                  </a:lnTo>
                  <a:lnTo>
                    <a:pt x="4" y="286"/>
                  </a:lnTo>
                  <a:lnTo>
                    <a:pt x="4" y="286"/>
                  </a:lnTo>
                  <a:lnTo>
                    <a:pt x="2" y="291"/>
                  </a:lnTo>
                  <a:lnTo>
                    <a:pt x="0" y="297"/>
                  </a:lnTo>
                  <a:lnTo>
                    <a:pt x="0" y="301"/>
                  </a:lnTo>
                  <a:lnTo>
                    <a:pt x="0" y="306"/>
                  </a:lnTo>
                  <a:lnTo>
                    <a:pt x="6" y="314"/>
                  </a:lnTo>
                  <a:lnTo>
                    <a:pt x="13" y="320"/>
                  </a:lnTo>
                  <a:lnTo>
                    <a:pt x="23" y="323"/>
                  </a:lnTo>
                  <a:lnTo>
                    <a:pt x="32" y="323"/>
                  </a:lnTo>
                  <a:lnTo>
                    <a:pt x="42" y="322"/>
                  </a:lnTo>
                  <a:lnTo>
                    <a:pt x="47" y="318"/>
                  </a:lnTo>
                  <a:lnTo>
                    <a:pt x="51" y="312"/>
                  </a:lnTo>
                  <a:lnTo>
                    <a:pt x="51" y="312"/>
                  </a:lnTo>
                  <a:lnTo>
                    <a:pt x="108" y="235"/>
                  </a:lnTo>
                  <a:lnTo>
                    <a:pt x="140" y="197"/>
                  </a:lnTo>
                  <a:lnTo>
                    <a:pt x="172" y="163"/>
                  </a:lnTo>
                  <a:lnTo>
                    <a:pt x="189" y="146"/>
                  </a:lnTo>
                  <a:lnTo>
                    <a:pt x="206" y="131"/>
                  </a:lnTo>
                  <a:lnTo>
                    <a:pt x="225" y="116"/>
                  </a:lnTo>
                  <a:lnTo>
                    <a:pt x="246" y="102"/>
                  </a:lnTo>
                  <a:lnTo>
                    <a:pt x="264" y="89"/>
                  </a:lnTo>
                  <a:lnTo>
                    <a:pt x="287" y="78"/>
                  </a:lnTo>
                  <a:lnTo>
                    <a:pt x="310" y="70"/>
                  </a:lnTo>
                  <a:lnTo>
                    <a:pt x="333" y="63"/>
                  </a:lnTo>
                  <a:lnTo>
                    <a:pt x="333" y="63"/>
                  </a:lnTo>
                  <a:lnTo>
                    <a:pt x="355" y="57"/>
                  </a:lnTo>
                  <a:lnTo>
                    <a:pt x="376" y="55"/>
                  </a:lnTo>
                  <a:lnTo>
                    <a:pt x="399" y="55"/>
                  </a:lnTo>
                  <a:lnTo>
                    <a:pt x="419" y="57"/>
                  </a:lnTo>
                  <a:lnTo>
                    <a:pt x="438" y="59"/>
                  </a:lnTo>
                  <a:lnTo>
                    <a:pt x="459" y="65"/>
                  </a:lnTo>
                  <a:lnTo>
                    <a:pt x="478" y="72"/>
                  </a:lnTo>
                  <a:lnTo>
                    <a:pt x="497" y="80"/>
                  </a:lnTo>
                  <a:lnTo>
                    <a:pt x="516" y="89"/>
                  </a:lnTo>
                  <a:lnTo>
                    <a:pt x="533" y="100"/>
                  </a:lnTo>
                  <a:lnTo>
                    <a:pt x="550" y="114"/>
                  </a:lnTo>
                  <a:lnTo>
                    <a:pt x="567" y="127"/>
                  </a:lnTo>
                  <a:lnTo>
                    <a:pt x="597" y="157"/>
                  </a:lnTo>
                  <a:lnTo>
                    <a:pt x="623" y="189"/>
                  </a:lnTo>
                  <a:lnTo>
                    <a:pt x="623" y="189"/>
                  </a:lnTo>
                  <a:lnTo>
                    <a:pt x="652" y="227"/>
                  </a:lnTo>
                  <a:lnTo>
                    <a:pt x="676" y="267"/>
                  </a:lnTo>
                  <a:lnTo>
                    <a:pt x="697" y="306"/>
                  </a:lnTo>
                  <a:lnTo>
                    <a:pt x="718" y="350"/>
                  </a:lnTo>
                  <a:lnTo>
                    <a:pt x="735" y="391"/>
                  </a:lnTo>
                  <a:lnTo>
                    <a:pt x="752" y="437"/>
                  </a:lnTo>
                  <a:lnTo>
                    <a:pt x="767" y="480"/>
                  </a:lnTo>
                  <a:lnTo>
                    <a:pt x="780" y="524"/>
                  </a:lnTo>
                  <a:lnTo>
                    <a:pt x="780" y="524"/>
                  </a:lnTo>
                  <a:lnTo>
                    <a:pt x="794" y="571"/>
                  </a:lnTo>
                  <a:lnTo>
                    <a:pt x="805" y="618"/>
                  </a:lnTo>
                  <a:lnTo>
                    <a:pt x="814" y="665"/>
                  </a:lnTo>
                  <a:lnTo>
                    <a:pt x="824" y="713"/>
                  </a:lnTo>
                  <a:lnTo>
                    <a:pt x="824" y="713"/>
                  </a:lnTo>
                  <a:lnTo>
                    <a:pt x="831" y="764"/>
                  </a:lnTo>
                  <a:lnTo>
                    <a:pt x="837" y="817"/>
                  </a:lnTo>
                  <a:lnTo>
                    <a:pt x="837" y="817"/>
                  </a:lnTo>
                  <a:lnTo>
                    <a:pt x="841" y="860"/>
                  </a:lnTo>
                  <a:lnTo>
                    <a:pt x="845" y="881"/>
                  </a:lnTo>
                  <a:lnTo>
                    <a:pt x="852" y="902"/>
                  </a:lnTo>
                  <a:lnTo>
                    <a:pt x="852" y="902"/>
                  </a:lnTo>
                  <a:lnTo>
                    <a:pt x="854" y="905"/>
                  </a:lnTo>
                  <a:lnTo>
                    <a:pt x="858" y="905"/>
                  </a:lnTo>
                  <a:lnTo>
                    <a:pt x="862" y="905"/>
                  </a:lnTo>
                  <a:lnTo>
                    <a:pt x="863" y="902"/>
                  </a:lnTo>
                  <a:lnTo>
                    <a:pt x="863" y="9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3D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92886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2BFCD-AF60-26E3-D85D-1FC70CDA9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SAINFO - KUIVTOIDUD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35859D-EC21-0D1C-6FF5-3F3E41764A62}"/>
              </a:ext>
            </a:extLst>
          </p:cNvPr>
          <p:cNvGrpSpPr/>
          <p:nvPr/>
        </p:nvGrpSpPr>
        <p:grpSpPr>
          <a:xfrm>
            <a:off x="5728336" y="1095255"/>
            <a:ext cx="5510382" cy="4012913"/>
            <a:chOff x="5692799" y="1085961"/>
            <a:chExt cx="5510382" cy="401291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FF3D84C-5CB7-70FB-C8A3-4543C07E78BE}"/>
                </a:ext>
              </a:extLst>
            </p:cNvPr>
            <p:cNvGrpSpPr/>
            <p:nvPr/>
          </p:nvGrpSpPr>
          <p:grpSpPr>
            <a:xfrm>
              <a:off x="5692799" y="1085961"/>
              <a:ext cx="5510382" cy="4012913"/>
              <a:chOff x="6113633" y="1281597"/>
              <a:chExt cx="5510382" cy="4812976"/>
            </a:xfrm>
          </p:grpSpPr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95DA2E81-98F6-FFDB-6598-47EEB21B1B54}"/>
                  </a:ext>
                </a:extLst>
              </p:cNvPr>
              <p:cNvSpPr/>
              <p:nvPr/>
            </p:nvSpPr>
            <p:spPr>
              <a:xfrm>
                <a:off x="6113633" y="1281597"/>
                <a:ext cx="5500585" cy="4812976"/>
              </a:xfrm>
              <a:prstGeom prst="roundRect">
                <a:avLst>
                  <a:gd name="adj" fmla="val 2942"/>
                </a:avLst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157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IN Pro"/>
                  <a:ea typeface="+mn-ea"/>
                  <a:cs typeface="+mn-cs"/>
                </a:endParaRPr>
              </a:p>
            </p:txBody>
          </p:sp>
          <p:sp>
            <p:nvSpPr>
              <p:cNvPr id="6" name="Text Placeholder 14">
                <a:extLst>
                  <a:ext uri="{FF2B5EF4-FFF2-40B4-BE49-F238E27FC236}">
                    <a16:creationId xmlns:a16="http://schemas.microsoft.com/office/drawing/2014/main" id="{50466E71-F2AC-239D-69CA-1E47B5F593E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77391" y="1411808"/>
                <a:ext cx="4823272" cy="332399"/>
              </a:xfrm>
              <a:prstGeom prst="rect">
                <a:avLst/>
              </a:prstGeom>
            </p:spPr>
            <p:txBody>
              <a:bodyPr lIns="0" tIns="0" rIns="0" bIns="0" anchor="b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rgbClr val="E4011A"/>
                  </a:buClr>
                  <a:buSzPct val="80000"/>
                  <a:buFont typeface="Police système Courant"/>
                  <a:buNone/>
                  <a:defRPr sz="1800" b="1" kern="1200" cap="all" baseline="0">
                    <a:solidFill>
                      <a:schemeClr val="tx2"/>
                    </a:solidFill>
                    <a:latin typeface="+mj-lt"/>
                    <a:ea typeface="+mn-ea"/>
                    <a:cs typeface="DIN Pro Regular" panose="020B0504020101020102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2000" kern="1200">
                    <a:solidFill>
                      <a:srgbClr val="878786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8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6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6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fr-FR" sz="1600" dirty="0">
                    <a:solidFill>
                      <a:srgbClr val="EC001A"/>
                    </a:solidFill>
                    <a:ea typeface="+mj-lt"/>
                    <a:cs typeface="+mj-lt"/>
                  </a:rPr>
                  <a:t>VETIKAÕLI KASUTUSELE TOOMINE (EPA/DHA)</a:t>
                </a:r>
                <a:endParaRPr lang="fr-FR" sz="1600" b="0" dirty="0">
                  <a:solidFill>
                    <a:srgbClr val="000000"/>
                  </a:solidFill>
                  <a:ea typeface="+mj-lt"/>
                  <a:cs typeface="+mj-lt"/>
                </a:endParaRPr>
              </a:p>
            </p:txBody>
          </p:sp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6F866127-F859-3528-66DE-3A209E3595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44383" y="1748617"/>
                <a:ext cx="4879632" cy="4329405"/>
              </a:xfrm>
              <a:prstGeom prst="rect">
                <a:avLst/>
              </a:prstGeom>
            </p:spPr>
            <p:txBody>
              <a:bodyPr vert="horz" wrap="square" lIns="103146" tIns="51572" rIns="103146" bIns="51572" rtlCol="0" anchor="t">
                <a:spAutoFit/>
              </a:bodyPr>
              <a:lstStyle>
                <a:lvl1pPr marL="386808" indent="-386808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6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1pPr>
                <a:lvl2pPr marL="838083" indent="-322340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4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2pPr>
                <a:lvl3pPr marL="1289360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2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3pPr>
                <a:lvl4pPr marL="1805103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1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4pPr>
                <a:lvl5pPr marL="2320846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1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5pPr>
                <a:lvl6pPr marL="2836589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52334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68077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3819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spcBef>
                    <a:spcPts val="0"/>
                  </a:spcBef>
                  <a:spcAft>
                    <a:spcPts val="1800"/>
                  </a:spcAft>
                  <a:buNone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</a:rPr>
                  <a:t>Royal Canin </a:t>
                </a:r>
                <a:r>
                  <a:rPr lang="en-US" sz="1400" dirty="0">
                    <a:solidFill>
                      <a:srgbClr val="3D3D3C"/>
                    </a:solidFill>
                  </a:rPr>
                  <a:t>on </a:t>
                </a:r>
                <a:r>
                  <a:rPr lang="en-US" sz="1400" err="1">
                    <a:solidFill>
                      <a:srgbClr val="3D3D3C"/>
                    </a:solidFill>
                  </a:rPr>
                  <a:t>tuvastanud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</a:t>
                </a:r>
                <a:r>
                  <a:rPr lang="en-US" sz="1400" err="1">
                    <a:solidFill>
                      <a:srgbClr val="3D3D3C"/>
                    </a:solidFill>
                  </a:rPr>
                  <a:t>konkreetsed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</a:t>
                </a:r>
                <a:r>
                  <a:rPr lang="en-US" sz="1400" err="1">
                    <a:solidFill>
                      <a:srgbClr val="3D3D3C"/>
                    </a:solidFill>
                  </a:rPr>
                  <a:t>vetikasordid</a:t>
                </a:r>
                <a:r>
                  <a:rPr lang="en-US" sz="1400" dirty="0">
                    <a:solidFill>
                      <a:srgbClr val="3D3D3C"/>
                    </a:solidFill>
                  </a:rPr>
                  <a:t>, mis on alternatiivseks 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</a:rPr>
                  <a:t>EPA/DHA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allikaks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</a:rPr>
                  <a:t>.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Vetikaõli </a:t>
                </a:r>
                <a:r>
                  <a:rPr lang="en-US" sz="1400" err="1">
                    <a:solidFill>
                      <a:srgbClr val="3D3D3C"/>
                    </a:solidFill>
                  </a:rPr>
                  <a:t>koostisesse</a:t>
                </a:r>
                <a:r>
                  <a:rPr lang="en-US" sz="1400" dirty="0">
                    <a:solidFill>
                      <a:srgbClr val="3D3D3C"/>
                    </a:solidFill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</a:rPr>
                  <a:t>lisamisega</a:t>
                </a:r>
                <a:r>
                  <a:rPr lang="en-US" sz="1400">
                    <a:solidFill>
                      <a:srgbClr val="3D3D3C"/>
                    </a:solidFill>
                  </a:rPr>
                  <a:t> (</a:t>
                </a:r>
                <a:r>
                  <a:rPr lang="en-US" sz="1400" err="1">
                    <a:solidFill>
                      <a:srgbClr val="3D3D3C"/>
                    </a:solidFill>
                  </a:rPr>
                  <a:t>kalaõli</a:t>
                </a:r>
                <a:r>
                  <a:rPr lang="en-US" sz="1400">
                    <a:solidFill>
                      <a:srgbClr val="3D3D3C"/>
                    </a:solidFill>
                  </a:rPr>
                  <a:t> ja </a:t>
                </a:r>
                <a:r>
                  <a:rPr lang="en-US" sz="1400" err="1">
                    <a:solidFill>
                      <a:srgbClr val="3D3D3C"/>
                    </a:solidFill>
                  </a:rPr>
                  <a:t>vetikaõli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</a:t>
                </a:r>
                <a:r>
                  <a:rPr lang="en-US" sz="1400" err="1">
                    <a:solidFill>
                      <a:srgbClr val="3D3D3C"/>
                    </a:solidFill>
                  </a:rPr>
                  <a:t>segu</a:t>
                </a:r>
                <a:r>
                  <a:rPr lang="en-US" sz="1400">
                    <a:solidFill>
                      <a:srgbClr val="3D3D3C"/>
                    </a:solidFill>
                  </a:rPr>
                  <a:t>) </a:t>
                </a:r>
                <a:r>
                  <a:rPr lang="en-US" sz="1400" err="1">
                    <a:solidFill>
                      <a:srgbClr val="3D3D3C"/>
                    </a:solidFill>
                  </a:rPr>
                  <a:t>järgime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</a:t>
                </a:r>
                <a:r>
                  <a:rPr lang="en-US" sz="1400" err="1">
                    <a:solidFill>
                      <a:srgbClr val="3D3D3C"/>
                    </a:solidFill>
                  </a:rPr>
                  <a:t>oma</a:t>
                </a:r>
                <a:r>
                  <a:rPr lang="en-US" sz="1400" dirty="0">
                    <a:solidFill>
                      <a:srgbClr val="3D3D3C"/>
                    </a:solidFill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</a:rPr>
                  <a:t>jätkusuutlikkuse</a:t>
                </a:r>
                <a:r>
                  <a:rPr lang="en-US" sz="1400" dirty="0">
                    <a:solidFill>
                      <a:srgbClr val="3D3D3C"/>
                    </a:solidFill>
                  </a:rPr>
                  <a:t> </a:t>
                </a:r>
                <a:r>
                  <a:rPr lang="en-US" sz="1400" err="1">
                    <a:solidFill>
                      <a:srgbClr val="3D3D3C"/>
                    </a:solidFill>
                  </a:rPr>
                  <a:t>põhimõtet</a:t>
                </a:r>
                <a:r>
                  <a:rPr lang="en-US" sz="1400" dirty="0">
                    <a:solidFill>
                      <a:srgbClr val="3D3D3C"/>
                    </a:solidFill>
                  </a:rPr>
                  <a:t>.</a:t>
                </a:r>
                <a:endParaRPr lang="en-US"/>
              </a:p>
              <a:p>
                <a:pPr marL="0" indent="0" algn="l">
                  <a:spcAft>
                    <a:spcPts val="1800"/>
                  </a:spcAft>
                  <a:buNone/>
                  <a:defRPr/>
                </a:pP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Kala on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lemmikloomatoidu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olulin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oostisos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.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alaõli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leiduva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oomega-3-rasvhapped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(EPA/DH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) -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toitained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, 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mis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mängiva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õtmerolli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eelkõig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rakumembraanid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moodustumis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toetamisel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ja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neuroloogilist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süsteemid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(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ju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,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silma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ja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närvi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)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rengu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. Osana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mei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strateegiast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ähendad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survet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mere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ökosüsteemidel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on ROYAL CANIN® 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alates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2022.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astast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hakanu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Euroopa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mõne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om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oostise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 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alaõli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sendam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etikaõlig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.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Tegelikult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olem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tuvastanu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onkreetse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mikrovetikasordid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, 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mis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õivad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olla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lternatiivsek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EPA/DH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llikaks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. 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Selle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lternatiivs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oostisos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asutamin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aitab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ähendad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ROYAL CANIN®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toitude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 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asutatav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kala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kogust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.</a:t>
                </a:r>
                <a:endParaRPr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IN Pro Cond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C8C049-CAF3-9A6A-4D8D-08BB28F3A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34306" y="1607301"/>
              <a:ext cx="326811" cy="497997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AE29C77-8191-8D7B-E62C-37833907A920}"/>
              </a:ext>
            </a:extLst>
          </p:cNvPr>
          <p:cNvGrpSpPr/>
          <p:nvPr/>
        </p:nvGrpSpPr>
        <p:grpSpPr>
          <a:xfrm>
            <a:off x="692736" y="1108242"/>
            <a:ext cx="4839412" cy="5604939"/>
            <a:chOff x="664865" y="3555309"/>
            <a:chExt cx="4750567" cy="5180315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1B15779-77D2-1B40-572A-97F36833255F}"/>
                </a:ext>
              </a:extLst>
            </p:cNvPr>
            <p:cNvSpPr/>
            <p:nvPr/>
          </p:nvSpPr>
          <p:spPr>
            <a:xfrm>
              <a:off x="664865" y="3555309"/>
              <a:ext cx="4750567" cy="5180315"/>
            </a:xfrm>
            <a:prstGeom prst="roundRect">
              <a:avLst>
                <a:gd name="adj" fmla="val 2942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15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ro"/>
                <a:ea typeface="+mn-ea"/>
                <a:cs typeface="+mn-cs"/>
              </a:endParaRPr>
            </a:p>
          </p:txBody>
        </p:sp>
        <p:sp>
          <p:nvSpPr>
            <p:cNvPr id="11" name="Text Placeholder 14">
              <a:extLst>
                <a:ext uri="{FF2B5EF4-FFF2-40B4-BE49-F238E27FC236}">
                  <a16:creationId xmlns:a16="http://schemas.microsoft.com/office/drawing/2014/main" id="{7587F756-3D3C-44C6-48FC-735A3A4D09C4}"/>
                </a:ext>
              </a:extLst>
            </p:cNvPr>
            <p:cNvSpPr txBox="1">
              <a:spLocks/>
            </p:cNvSpPr>
            <p:nvPr/>
          </p:nvSpPr>
          <p:spPr>
            <a:xfrm>
              <a:off x="876233" y="3709956"/>
              <a:ext cx="4080001" cy="267071"/>
            </a:xfrm>
            <a:prstGeom prst="rect">
              <a:avLst/>
            </a:prstGeom>
          </p:spPr>
          <p:txBody>
            <a:bodyPr lIns="0" tIns="0" rIns="0" bIns="0" anchor="b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E4011A"/>
                </a:buClr>
                <a:buSzPct val="80000"/>
                <a:buFont typeface="Police système Courant"/>
                <a:buNone/>
                <a:defRPr sz="1800" b="1" kern="1200" cap="all" baseline="0">
                  <a:solidFill>
                    <a:schemeClr val="tx2"/>
                  </a:solidFill>
                  <a:latin typeface="+mj-lt"/>
                  <a:ea typeface="+mn-ea"/>
                  <a:cs typeface="DIN Pro Regular" panose="020B0504020101020102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2000" kern="1200">
                  <a:solidFill>
                    <a:srgbClr val="878786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8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4011A"/>
                </a:buClr>
                <a:buSzPct val="80000"/>
                <a:buFont typeface="Police système Courant"/>
                <a:buChar char="➤"/>
                <a:defRPr sz="1600" kern="1200">
                  <a:solidFill>
                    <a:srgbClr val="3D3D3C"/>
                  </a:solidFill>
                  <a:latin typeface="DIN Pro Regular" panose="020B0504020101020102" pitchFamily="34" charset="0"/>
                  <a:ea typeface="+mn-ea"/>
                  <a:cs typeface="DIN Pro Regular" panose="020B0504020101020102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1600" dirty="0">
                  <a:solidFill>
                    <a:srgbClr val="EC001A"/>
                  </a:solidFill>
                  <a:latin typeface="DIN Pro"/>
                </a:rPr>
                <a:t>TERAVILJADE MITMEKESISTAMINE</a:t>
              </a:r>
              <a:endParaRPr lang="en-US" dirty="0">
                <a:ea typeface="+mn-ea"/>
              </a:endParaRPr>
            </a:p>
          </p:txBody>
        </p:sp>
        <p:sp>
          <p:nvSpPr>
            <p:cNvPr id="12" name="Content Placeholder 2">
              <a:extLst>
                <a:ext uri="{FF2B5EF4-FFF2-40B4-BE49-F238E27FC236}">
                  <a16:creationId xmlns:a16="http://schemas.microsoft.com/office/drawing/2014/main" id="{2C10349C-D747-B999-72CE-04118A7AC0E1}"/>
                </a:ext>
              </a:extLst>
            </p:cNvPr>
            <p:cNvSpPr txBox="1">
              <a:spLocks/>
            </p:cNvSpPr>
            <p:nvPr/>
          </p:nvSpPr>
          <p:spPr>
            <a:xfrm>
              <a:off x="1125157" y="4021303"/>
              <a:ext cx="4178756" cy="4092920"/>
            </a:xfrm>
            <a:prstGeom prst="rect">
              <a:avLst/>
            </a:prstGeom>
          </p:spPr>
          <p:txBody>
            <a:bodyPr vert="horz" wrap="square" lIns="103146" tIns="51572" rIns="103146" bIns="51572" rtlCol="0" anchor="t">
              <a:spAutoFit/>
            </a:bodyPr>
            <a:lstStyle>
              <a:lvl1pPr marL="386808" indent="-386808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6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1pPr>
              <a:lvl2pPr marL="838083" indent="-322340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4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2pPr>
              <a:lvl3pPr marL="1289360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2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3pPr>
              <a:lvl4pPr marL="1805103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4pPr>
              <a:lvl5pPr marL="2320846" indent="-257871" algn="just" defTabSz="515744" rtl="0" eaLnBrk="1" latinLnBrk="0" hangingPunct="1">
                <a:spcBef>
                  <a:spcPct val="20000"/>
                </a:spcBef>
                <a:buSzPct val="100000"/>
                <a:buFontTx/>
                <a:buBlip>
                  <a:blip r:embed="rId3"/>
                </a:buBlip>
                <a:defRPr sz="1100" kern="1200">
                  <a:solidFill>
                    <a:schemeClr val="tx1"/>
                  </a:solidFill>
                  <a:latin typeface="DINOT-Regular"/>
                  <a:ea typeface="+mn-ea"/>
                  <a:cs typeface="DINOT-Regular"/>
                </a:defRPr>
              </a:lvl5pPr>
              <a:lvl6pPr marL="283658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52334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68077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3819" indent="-257871" algn="l" defTabSz="515744" rtl="0" eaLnBrk="1" latinLnBrk="0" hangingPunct="1">
                <a:spcBef>
                  <a:spcPct val="20000"/>
                </a:spcBef>
                <a:buFont typeface="Arial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spcBef>
                  <a:spcPts val="0"/>
                </a:spcBef>
                <a:spcAft>
                  <a:spcPts val="1800"/>
                </a:spcAft>
                <a:buNone/>
                <a:defRPr/>
              </a:pPr>
              <a:r>
                <a:rPr lang="en-US" sz="1400" err="1">
                  <a:solidFill>
                    <a:srgbClr val="3D3D3C"/>
                  </a:solidFill>
                </a:rPr>
                <a:t>Vähendame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kasutamist</a:t>
              </a:r>
              <a:r>
                <a:rPr lang="en-US" sz="1400" dirty="0">
                  <a:solidFill>
                    <a:srgbClr val="3D3D3C"/>
                  </a:solidFill>
                </a:rPr>
                <a:t> sea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</a:rPr>
                <a:t>,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kus</a:t>
              </a:r>
              <a:r>
                <a:rPr lang="en-US" sz="1400" dirty="0">
                  <a:solidFill>
                    <a:srgbClr val="3D3D3C"/>
                  </a:solidFill>
                </a:rPr>
                <a:t> see </a:t>
              </a:r>
              <a:r>
                <a:rPr lang="en-US" sz="1400" err="1">
                  <a:solidFill>
                    <a:srgbClr val="3D3D3C"/>
                  </a:solidFill>
                </a:rPr>
                <a:t>ei</a:t>
              </a:r>
              <a:r>
                <a:rPr lang="en-US" sz="1400" dirty="0">
                  <a:solidFill>
                    <a:srgbClr val="3D3D3C"/>
                  </a:solidFill>
                </a:rPr>
                <a:t> ole </a:t>
              </a:r>
              <a:r>
                <a:rPr lang="en-US" sz="1400" err="1">
                  <a:solidFill>
                    <a:srgbClr val="3D3D3C"/>
                  </a:solidFill>
                </a:rPr>
                <a:t>hädavajalik</a:t>
              </a:r>
              <a:r>
                <a:rPr lang="en-US" sz="1400" dirty="0">
                  <a:solidFill>
                    <a:srgbClr val="3D3D3C"/>
                  </a:solidFill>
                </a:rPr>
                <a:t>, </a:t>
              </a:r>
              <a:r>
                <a:rPr lang="en-US" sz="1400" err="1">
                  <a:solidFill>
                    <a:srgbClr val="3D3D3C"/>
                  </a:solidFill>
                </a:rPr>
                <a:t>tagades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ikka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sama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toiteväärtuse</a:t>
              </a:r>
              <a:r>
                <a:rPr lang="en-US" sz="1400" dirty="0">
                  <a:solidFill>
                    <a:srgbClr val="3D3D3C"/>
                  </a:solidFill>
                </a:rPr>
                <a:t>. </a:t>
              </a:r>
              <a:r>
                <a:rPr lang="en-US" sz="1400" err="1">
                  <a:solidFill>
                    <a:srgbClr val="3D3D3C"/>
                  </a:solidFill>
                </a:rPr>
                <a:t>Uuringud</a:t>
              </a:r>
              <a:r>
                <a:rPr lang="en-US" sz="1400" dirty="0">
                  <a:solidFill>
                    <a:srgbClr val="3D3D3C"/>
                  </a:solidFill>
                </a:rPr>
                <a:t> on </a:t>
              </a:r>
              <a:r>
                <a:rPr lang="en-US" sz="1400" err="1">
                  <a:solidFill>
                    <a:srgbClr val="3D3D3C"/>
                  </a:solidFill>
                </a:rPr>
                <a:t>näidanud</a:t>
              </a:r>
              <a:r>
                <a:rPr lang="en-US" sz="1400" dirty="0">
                  <a:solidFill>
                    <a:srgbClr val="3D3D3C"/>
                  </a:solidFill>
                </a:rPr>
                <a:t>, et </a:t>
              </a:r>
              <a:r>
                <a:rPr lang="en-US" sz="140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mõju</a:t>
              </a:r>
              <a:r>
                <a:rPr lang="en-US" sz="1400" dirty="0">
                  <a:solidFill>
                    <a:srgbClr val="3D3D3C"/>
                  </a:solidFill>
                </a:rPr>
                <a:t> CO2 </a:t>
              </a:r>
              <a:r>
                <a:rPr lang="en-US" sz="1400" err="1">
                  <a:solidFill>
                    <a:srgbClr val="3D3D3C"/>
                  </a:solidFill>
                </a:rPr>
                <a:t>heitkogustele</a:t>
              </a:r>
              <a:r>
                <a:rPr lang="en-US" sz="1400" dirty="0">
                  <a:solidFill>
                    <a:srgbClr val="3D3D3C"/>
                  </a:solidFill>
                </a:rPr>
                <a:t> on </a:t>
              </a:r>
              <a:r>
                <a:rPr lang="en-US" sz="1400" err="1">
                  <a:solidFill>
                    <a:srgbClr val="3D3D3C"/>
                  </a:solidFill>
                </a:rPr>
                <a:t>enamikus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maailma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osades</a:t>
              </a:r>
              <a:r>
                <a:rPr lang="en-US" sz="1400" dirty="0">
                  <a:solidFill>
                    <a:srgbClr val="3D3D3C"/>
                  </a:solidFill>
                </a:rPr>
                <a:t> (</a:t>
              </a:r>
              <a:r>
                <a:rPr lang="en-US" sz="1400" err="1">
                  <a:solidFill>
                    <a:srgbClr val="3D3D3C"/>
                  </a:solidFill>
                </a:rPr>
                <a:t>sõltuvalt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päritolust</a:t>
              </a:r>
              <a:r>
                <a:rPr lang="en-US" sz="1400" dirty="0">
                  <a:solidFill>
                    <a:srgbClr val="3D3D3C"/>
                  </a:solidFill>
                </a:rPr>
                <a:t> ja </a:t>
              </a:r>
              <a:r>
                <a:rPr lang="en-US" sz="1400" err="1">
                  <a:solidFill>
                    <a:srgbClr val="3D3D3C"/>
                  </a:solidFill>
                </a:rPr>
                <a:t>kohalikest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põllumajandustavadest</a:t>
              </a:r>
              <a:r>
                <a:rPr lang="en-US" sz="1400" dirty="0">
                  <a:solidFill>
                    <a:srgbClr val="3D3D3C"/>
                  </a:solidFill>
                </a:rPr>
                <a:t>) </a:t>
              </a:r>
              <a:r>
                <a:rPr lang="en-US" sz="1400" err="1">
                  <a:solidFill>
                    <a:srgbClr val="3D3D3C"/>
                  </a:solidFill>
                </a:rPr>
                <a:t>suurem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kui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teistel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err="1">
                  <a:solidFill>
                    <a:srgbClr val="3D3D3C"/>
                  </a:solidFill>
                </a:rPr>
                <a:t>teraviljadel</a:t>
              </a:r>
              <a:r>
                <a:rPr lang="en-US" sz="1400" dirty="0">
                  <a:solidFill>
                    <a:srgbClr val="3D3D3C"/>
                  </a:solidFill>
                </a:rPr>
                <a:t>.</a:t>
              </a:r>
              <a:endParaRPr lang="en-US" dirty="0"/>
            </a:p>
            <a:p>
              <a:pPr marL="0" indent="0" algn="l">
                <a:spcBef>
                  <a:spcPts val="0"/>
                </a:spcBef>
                <a:spcAft>
                  <a:spcPts val="1800"/>
                </a:spcAft>
                <a:buNone/>
                <a:defRPr/>
              </a:pPr>
              <a:r>
                <a:rPr lang="en-US" sz="1400" dirty="0">
                  <a:solidFill>
                    <a:srgbClr val="3D3D3C"/>
                  </a:solidFill>
                </a:rPr>
                <a:t>Iga </a:t>
              </a:r>
              <a:r>
                <a:rPr lang="en-US" sz="1400" dirty="0" err="1">
                  <a:solidFill>
                    <a:srgbClr val="3D3D3C"/>
                  </a:solidFill>
                </a:rPr>
                <a:t>toode</a:t>
              </a:r>
              <a:r>
                <a:rPr lang="en-US" sz="1400" dirty="0">
                  <a:solidFill>
                    <a:srgbClr val="3D3D3C"/>
                  </a:solidFill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</a:rPr>
                <a:t>seotud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petsiifilis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itainet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profiiliga</a:t>
              </a:r>
              <a:r>
                <a:rPr lang="en-US" sz="1400" dirty="0">
                  <a:solidFill>
                    <a:srgbClr val="3D3D3C"/>
                  </a:solidFill>
                </a:rPr>
                <a:t>, mis on </a:t>
              </a:r>
              <a:r>
                <a:rPr lang="en-US" sz="1400" dirty="0" err="1">
                  <a:solidFill>
                    <a:srgbClr val="3D3D3C"/>
                  </a:solidFill>
                </a:rPr>
                <a:t>kogu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aailma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ühesugune</a:t>
              </a:r>
              <a:r>
                <a:rPr lang="en-US" sz="1400" dirty="0">
                  <a:solidFill>
                    <a:srgbClr val="3D3D3C"/>
                  </a:solidFill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</a:rPr>
                <a:t>Kuid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orained</a:t>
              </a:r>
              <a:r>
                <a:rPr lang="en-US" sz="1400" dirty="0">
                  <a:solidFill>
                    <a:srgbClr val="3D3D3C"/>
                  </a:solidFill>
                </a:rPr>
                <a:t>, </a:t>
              </a:r>
              <a:r>
                <a:rPr lang="en-US" sz="1400" dirty="0" err="1">
                  <a:solidFill>
                    <a:srgbClr val="3D3D3C"/>
                  </a:solidFill>
                </a:rPr>
                <a:t>mida</a:t>
              </a:r>
              <a:r>
                <a:rPr lang="en-US" sz="1400" dirty="0">
                  <a:solidFill>
                    <a:srgbClr val="3D3D3C"/>
                  </a:solidFill>
                </a:rPr>
                <a:t> me </a:t>
              </a:r>
              <a:r>
                <a:rPr lang="en-US" sz="1400" dirty="0" err="1">
                  <a:solidFill>
                    <a:srgbClr val="3D3D3C"/>
                  </a:solidFill>
                </a:rPr>
                <a:t>kasutam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ell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itainet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profiil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aavutamiseks</a:t>
              </a:r>
              <a:r>
                <a:rPr lang="en-US" sz="1400" dirty="0">
                  <a:solidFill>
                    <a:srgbClr val="3D3D3C"/>
                  </a:solidFill>
                </a:rPr>
                <a:t>, </a:t>
              </a:r>
              <a:r>
                <a:rPr lang="en-US" sz="1400" dirty="0" err="1">
                  <a:solidFill>
                    <a:srgbClr val="3D3D3C"/>
                  </a:solidFill>
                </a:rPr>
                <a:t>võivad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õltuval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ohalikul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aadaolevates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orainetes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piirkonniti</a:t>
              </a:r>
              <a:r>
                <a:rPr lang="en-US" sz="1400" dirty="0">
                  <a:solidFill>
                    <a:srgbClr val="3D3D3C"/>
                  </a:solidFill>
                </a:rPr>
                <a:t> ja </a:t>
              </a:r>
              <a:r>
                <a:rPr lang="en-US" sz="1400" dirty="0" err="1">
                  <a:solidFill>
                    <a:srgbClr val="3D3D3C"/>
                  </a:solidFill>
                </a:rPr>
                <a:t>vastaval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ehasel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erineda</a:t>
              </a:r>
              <a:r>
                <a:rPr lang="en-US" sz="1400" dirty="0">
                  <a:solidFill>
                    <a:srgbClr val="3D3D3C"/>
                  </a:solidFill>
                </a:rPr>
                <a:t>. Me </a:t>
              </a:r>
              <a:r>
                <a:rPr lang="en-US" sz="1400" dirty="0" err="1">
                  <a:solidFill>
                    <a:srgbClr val="3D3D3C"/>
                  </a:solidFill>
                </a:rPr>
                <a:t>team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ig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ei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ligi</a:t>
              </a:r>
              <a:r>
                <a:rPr lang="en-US" sz="1400" dirty="0">
                  <a:solidFill>
                    <a:srgbClr val="3D3D3C"/>
                  </a:solidFill>
                </a:rPr>
                <a:t> 750 </a:t>
              </a:r>
              <a:r>
                <a:rPr lang="en-US" sz="1400" dirty="0" err="1">
                  <a:solidFill>
                    <a:srgbClr val="3D3D3C"/>
                  </a:solidFill>
                </a:rPr>
                <a:t>toiduvaliku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üsinikujalajälg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ning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õju</a:t>
              </a:r>
              <a:r>
                <a:rPr lang="en-US" sz="1400" dirty="0">
                  <a:solidFill>
                    <a:srgbClr val="3D3D3C"/>
                  </a:solidFill>
                </a:rPr>
                <a:t> maa- ja </a:t>
              </a:r>
              <a:r>
                <a:rPr lang="en-US" sz="1400" dirty="0" err="1">
                  <a:solidFill>
                    <a:srgbClr val="3D3D3C"/>
                  </a:solidFill>
                </a:rPr>
                <a:t>veekasutusele</a:t>
              </a:r>
              <a:r>
                <a:rPr lang="en-US" sz="1400" dirty="0">
                  <a:solidFill>
                    <a:srgbClr val="3D3D3C"/>
                  </a:solidFill>
                </a:rPr>
                <a:t>, mis </a:t>
              </a:r>
              <a:r>
                <a:rPr lang="en-US" sz="1400" dirty="0" err="1">
                  <a:solidFill>
                    <a:srgbClr val="3D3D3C"/>
                  </a:solidFill>
                </a:rPr>
                <a:t>võimaldab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eil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optimeerid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oostisosad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valikut</a:t>
              </a:r>
              <a:r>
                <a:rPr lang="en-US" sz="1400" dirty="0">
                  <a:solidFill>
                    <a:srgbClr val="3D3D3C"/>
                  </a:solidFill>
                </a:rPr>
                <a:t>. </a:t>
              </a:r>
              <a:r>
                <a:rPr lang="en-US" sz="1400" dirty="0" err="1">
                  <a:solidFill>
                    <a:srgbClr val="3D3D3C"/>
                  </a:solidFill>
                </a:rPr>
                <a:t>Näitek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olem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õne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om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idu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osaliselt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asendanud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nisu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võ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aisiga</a:t>
              </a:r>
              <a:r>
                <a:rPr lang="en-US" sz="1400" dirty="0">
                  <a:solidFill>
                    <a:srgbClr val="3D3D3C"/>
                  </a:solidFill>
                </a:rPr>
                <a:t>, et </a:t>
              </a:r>
              <a:r>
                <a:rPr lang="en-US" sz="1400" dirty="0" err="1">
                  <a:solidFill>
                    <a:srgbClr val="3D3D3C"/>
                  </a:solidFill>
                </a:rPr>
                <a:t>vähendad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ei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toodet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asvuhoonegaaside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heitkoguseid</a:t>
              </a:r>
              <a:r>
                <a:rPr lang="en-US" sz="1400" dirty="0">
                  <a:solidFill>
                    <a:srgbClr val="3D3D3C"/>
                  </a:solidFill>
                </a:rPr>
                <a:t>.</a:t>
              </a:r>
              <a:r>
                <a:rPr lang="en-US" sz="1400" dirty="0">
                  <a:solidFill>
                    <a:srgbClr val="3D3D3C"/>
                  </a:solidFill>
                  <a:latin typeface="DIN Pro Cond"/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</a:rPr>
                <a:t>Näitek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Ameerik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Ühendriikide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asvatatav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rii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õju</a:t>
              </a:r>
              <a:r>
                <a:rPr lang="en-US" sz="1400" dirty="0">
                  <a:solidFill>
                    <a:srgbClr val="3D3D3C"/>
                  </a:solidFill>
                </a:rPr>
                <a:t> on </a:t>
              </a:r>
              <a:r>
                <a:rPr lang="en-US" sz="1400" dirty="0" err="1">
                  <a:solidFill>
                    <a:srgbClr val="3D3D3C"/>
                  </a:solidFill>
                </a:rPr>
                <a:t>Mailma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</a:rPr>
                <a:t>Toidu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</a:rPr>
                <a:t>Olelusringi</a:t>
              </a:r>
              <a:r>
                <a:rPr lang="en-US" sz="1400" dirty="0">
                  <a:solidFill>
                    <a:srgbClr val="3D3D3C"/>
                  </a:solidFill>
                </a:rPr>
                <a:t> (World Food Life Cycle) </a:t>
              </a:r>
              <a:r>
                <a:rPr lang="en-US" sz="1400" dirty="0" err="1">
                  <a:solidFill>
                    <a:srgbClr val="3D3D3C"/>
                  </a:solidFill>
                </a:rPr>
                <a:t>andmebaa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järgi</a:t>
              </a:r>
              <a:r>
                <a:rPr lang="en-US" sz="1400" dirty="0">
                  <a:solidFill>
                    <a:srgbClr val="3D3D3C"/>
                  </a:solidFill>
                </a:rPr>
                <a:t> </a:t>
              </a:r>
              <a:r>
                <a:rPr lang="en-US" sz="1400" dirty="0" err="1">
                  <a:solidFill>
                    <a:srgbClr val="3D3D3C"/>
                  </a:solidFill>
                </a:rPr>
                <a:t>kaks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ord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uurem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u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nisu</a:t>
              </a:r>
              <a:r>
                <a:rPr lang="en-US" sz="1400" dirty="0">
                  <a:solidFill>
                    <a:srgbClr val="3D3D3C"/>
                  </a:solidFill>
                </a:rPr>
                <a:t> ja </a:t>
              </a:r>
              <a:r>
                <a:rPr lang="en-US" sz="1400" dirty="0" err="1">
                  <a:solidFill>
                    <a:srgbClr val="3D3D3C"/>
                  </a:solidFill>
                </a:rPr>
                <a:t>peaaegu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olm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orda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suurem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ku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aisi</a:t>
              </a:r>
              <a:r>
                <a:rPr lang="en-US" sz="1400" dirty="0">
                  <a:solidFill>
                    <a:srgbClr val="3D3D3C"/>
                  </a:solidFill>
                </a:rPr>
                <a:t> </a:t>
              </a:r>
              <a:r>
                <a:rPr lang="en-US" sz="1400" dirty="0" err="1">
                  <a:solidFill>
                    <a:srgbClr val="3D3D3C"/>
                  </a:solidFill>
                </a:rPr>
                <a:t>mõju</a:t>
              </a:r>
              <a:r>
                <a:rPr lang="en-US" sz="1400" dirty="0">
                  <a:solidFill>
                    <a:srgbClr val="3D3D3C"/>
                  </a:solidFill>
                </a:rPr>
                <a:t>.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" name="Graphique 12">
            <a:extLst>
              <a:ext uri="{FF2B5EF4-FFF2-40B4-BE49-F238E27FC236}">
                <a16:creationId xmlns:a16="http://schemas.microsoft.com/office/drawing/2014/main" id="{604C4771-A485-D343-341E-66466BA7B64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4074" b="33280"/>
          <a:stretch/>
        </p:blipFill>
        <p:spPr>
          <a:xfrm>
            <a:off x="770909" y="1597385"/>
            <a:ext cx="402439" cy="26271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5D34B03B-CD86-BDDB-8B48-CA9037DBF86D}"/>
              </a:ext>
            </a:extLst>
          </p:cNvPr>
          <p:cNvGrpSpPr/>
          <p:nvPr/>
        </p:nvGrpSpPr>
        <p:grpSpPr>
          <a:xfrm>
            <a:off x="5695139" y="5200358"/>
            <a:ext cx="6201665" cy="1512823"/>
            <a:chOff x="5948461" y="2556679"/>
            <a:chExt cx="5045001" cy="146668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CB3BF3C-4768-8EBD-3BA8-D333FACAA836}"/>
                </a:ext>
              </a:extLst>
            </p:cNvPr>
            <p:cNvGrpSpPr/>
            <p:nvPr/>
          </p:nvGrpSpPr>
          <p:grpSpPr>
            <a:xfrm>
              <a:off x="5948461" y="2556679"/>
              <a:ext cx="5045001" cy="1466681"/>
              <a:chOff x="6073212" y="1281597"/>
              <a:chExt cx="5045001" cy="1759096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B731F70D-0F30-624D-EFFE-B9543B981FAA}"/>
                  </a:ext>
                </a:extLst>
              </p:cNvPr>
              <p:cNvSpPr/>
              <p:nvPr/>
            </p:nvSpPr>
            <p:spPr>
              <a:xfrm>
                <a:off x="6073212" y="1281597"/>
                <a:ext cx="4536659" cy="1759096"/>
              </a:xfrm>
              <a:prstGeom prst="roundRect">
                <a:avLst>
                  <a:gd name="adj" fmla="val 2942"/>
                </a:avLst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157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IN Pro"/>
                  <a:ea typeface="+mn-ea"/>
                  <a:cs typeface="+mn-cs"/>
                </a:endParaRPr>
              </a:p>
            </p:txBody>
          </p:sp>
          <p:sp>
            <p:nvSpPr>
              <p:cNvPr id="21" name="Text Placeholder 14">
                <a:extLst>
                  <a:ext uri="{FF2B5EF4-FFF2-40B4-BE49-F238E27FC236}">
                    <a16:creationId xmlns:a16="http://schemas.microsoft.com/office/drawing/2014/main" id="{D28CDB93-25A9-6AA9-3C0C-1DAD9CB30EE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66659" y="1411808"/>
                <a:ext cx="4651554" cy="332399"/>
              </a:xfrm>
              <a:prstGeom prst="rect">
                <a:avLst/>
              </a:prstGeom>
            </p:spPr>
            <p:txBody>
              <a:bodyPr lIns="0" tIns="0" rIns="0" bIns="0" anchor="b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rgbClr val="E4011A"/>
                  </a:buClr>
                  <a:buSzPct val="80000"/>
                  <a:buFont typeface="Police système Courant"/>
                  <a:buNone/>
                  <a:defRPr sz="1800" b="1" kern="1200" cap="all" baseline="0">
                    <a:solidFill>
                      <a:schemeClr val="tx2"/>
                    </a:solidFill>
                    <a:latin typeface="+mj-lt"/>
                    <a:ea typeface="+mn-ea"/>
                    <a:cs typeface="DIN Pro Regular" panose="020B0504020101020102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2000" kern="1200">
                    <a:solidFill>
                      <a:srgbClr val="878786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8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6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E4011A"/>
                  </a:buClr>
                  <a:buSzPct val="80000"/>
                  <a:buFont typeface="Police système Courant"/>
                  <a:buChar char="➤"/>
                  <a:defRPr sz="1600" kern="1200">
                    <a:solidFill>
                      <a:srgbClr val="3D3D3C"/>
                    </a:solidFill>
                    <a:latin typeface="DIN Pro Regular" panose="020B0504020101020102" pitchFamily="34" charset="0"/>
                    <a:ea typeface="+mn-ea"/>
                    <a:cs typeface="DIN Pro Regular" panose="020B0504020101020102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fr-FR" sz="1600" dirty="0">
                    <a:solidFill>
                      <a:srgbClr val="EC001A"/>
                    </a:solidFill>
                    <a:latin typeface="DIN Pro"/>
                  </a:rPr>
                  <a:t>JÄTKUSUUTLIKE KOOSTISOSADE LOETELU</a:t>
                </a:r>
                <a:endParaRPr lang="en-US" dirty="0"/>
              </a:p>
            </p:txBody>
          </p:sp>
          <p:sp>
            <p:nvSpPr>
              <p:cNvPr id="22" name="Content Placeholder 2">
                <a:extLst>
                  <a:ext uri="{FF2B5EF4-FFF2-40B4-BE49-F238E27FC236}">
                    <a16:creationId xmlns:a16="http://schemas.microsoft.com/office/drawing/2014/main" id="{626E6A04-70CB-C843-ABD4-C6CED78D65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44383" y="1748617"/>
                <a:ext cx="3840678" cy="1123169"/>
              </a:xfrm>
              <a:prstGeom prst="rect">
                <a:avLst/>
              </a:prstGeom>
            </p:spPr>
            <p:txBody>
              <a:bodyPr vert="horz" wrap="square" lIns="103146" tIns="51572" rIns="103146" bIns="51572" rtlCol="0" anchor="t">
                <a:spAutoFit/>
              </a:bodyPr>
              <a:lstStyle>
                <a:lvl1pPr marL="386808" indent="-386808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6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1pPr>
                <a:lvl2pPr marL="838083" indent="-322340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4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2pPr>
                <a:lvl3pPr marL="1289360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2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3pPr>
                <a:lvl4pPr marL="1805103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1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4pPr>
                <a:lvl5pPr marL="2320846" indent="-257871" algn="just" defTabSz="515744" rtl="0" eaLnBrk="1" latinLnBrk="0" hangingPunct="1">
                  <a:spcBef>
                    <a:spcPct val="20000"/>
                  </a:spcBef>
                  <a:buSzPct val="100000"/>
                  <a:buFontTx/>
                  <a:buBlip>
                    <a:blip r:embed="rId3"/>
                  </a:buBlip>
                  <a:defRPr sz="1100" kern="1200">
                    <a:solidFill>
                      <a:schemeClr val="tx1"/>
                    </a:solidFill>
                    <a:latin typeface="DINOT-Regular"/>
                    <a:ea typeface="+mn-ea"/>
                    <a:cs typeface="DINOT-Regular"/>
                  </a:defRPr>
                </a:lvl5pPr>
                <a:lvl6pPr marL="2836589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52334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68077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3819" indent="-257871" algn="l" defTabSz="515744" rtl="0" eaLnBrk="1" latinLnBrk="0" hangingPunct="1">
                  <a:spcBef>
                    <a:spcPct val="20000"/>
                  </a:spcBef>
                  <a:buFont typeface="Arial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spcBef>
                    <a:spcPts val="0"/>
                  </a:spcBef>
                  <a:buNone/>
                  <a:defRPr/>
                </a:pP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Koostises</a:t>
                </a:r>
                <a:r>
                  <a:rPr lang="en-US" sz="1400">
                    <a:solidFill>
                      <a:srgbClr val="3D3D3C"/>
                    </a:solidFill>
                    <a:latin typeface="DIN Pro Cond"/>
                  </a:rPr>
                  <a:t> on 2 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jätkusuutlikumat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koostisos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: 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/>
                </a:endParaRPr>
              </a:p>
              <a:p>
                <a:pPr marL="0" indent="0" algn="l">
                  <a:spcBef>
                    <a:spcPts val="0"/>
                  </a:spcBef>
                  <a:buNone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-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Riisi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sisaldus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vähendamin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koos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teravilj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kasutamise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 </a:t>
                </a:r>
                <a:r>
                  <a:rPr lang="en-US" sz="1400" err="1">
                    <a:solidFill>
                      <a:srgbClr val="3D3D3C"/>
                    </a:solidFill>
                    <a:latin typeface="DIN Pro Cond"/>
                  </a:rPr>
                  <a:t>optimeerimisega</a:t>
                </a:r>
                <a:r>
                  <a:rPr lang="en-US" sz="1400" dirty="0">
                    <a:solidFill>
                      <a:srgbClr val="3D3D3C"/>
                    </a:solidFill>
                    <a:latin typeface="DIN Pro Cond"/>
                  </a:rPr>
                  <a:t> </a:t>
                </a:r>
                <a:endParaRPr lang="en-US" sz="1400" dirty="0">
                  <a:solidFill>
                    <a:srgbClr val="3D3D3C"/>
                  </a:solidFill>
                  <a:latin typeface="DIN Pro Cond" panose="020B0506020201010104" pitchFamily="34" charset="0"/>
                </a:endParaRPr>
              </a:p>
              <a:p>
                <a:pPr marL="0" indent="0" algn="l">
                  <a:spcBef>
                    <a:spcPts val="0"/>
                  </a:spcBef>
                  <a:buNone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3D3C"/>
                    </a:solidFill>
                    <a:effectLst/>
                    <a:uLnTx/>
                    <a:uFillTx/>
                    <a:latin typeface="DIN Pro Cond"/>
                  </a:rPr>
                  <a:t>- </a:t>
                </a:r>
                <a:r>
                  <a:rPr lang="en-US" sz="1400" dirty="0" err="1">
                    <a:solidFill>
                      <a:srgbClr val="3D3D3C"/>
                    </a:solidFill>
                    <a:latin typeface="DIN Pro Cond"/>
                  </a:rPr>
                  <a:t>Vetikaõli</a:t>
                </a:r>
                <a:endParaRPr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D3D3C"/>
                  </a:solidFill>
                  <a:effectLst/>
                  <a:uLnTx/>
                  <a:uFillTx/>
                  <a:latin typeface="DIN Pro Cond" panose="020B0506020201010104" pitchFamily="34" charset="0"/>
                </a:endParaRPr>
              </a:p>
            </p:txBody>
          </p:sp>
        </p:grpSp>
        <p:pic>
          <p:nvPicPr>
            <p:cNvPr id="24" name="Graphic 23" descr="Open hand with plant with solid fill">
              <a:extLst>
                <a:ext uri="{FF2B5EF4-FFF2-40B4-BE49-F238E27FC236}">
                  <a16:creationId xmlns:a16="http://schemas.microsoft.com/office/drawing/2014/main" id="{83BFC240-33E6-C24A-D6A8-187144B44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31312" y="3114700"/>
              <a:ext cx="574040" cy="5740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605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rkvarakomplekti Office kujund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ercalaire">
  <a:themeElements>
    <a:clrScheme name="Royal Canin Colors">
      <a:dk1>
        <a:srgbClr val="000000"/>
      </a:dk1>
      <a:lt1>
        <a:srgbClr val="FFFFFF"/>
      </a:lt1>
      <a:dk2>
        <a:srgbClr val="EC001A"/>
      </a:dk2>
      <a:lt2>
        <a:srgbClr val="6D6E71"/>
      </a:lt2>
      <a:accent1>
        <a:srgbClr val="6F2789"/>
      </a:accent1>
      <a:accent2>
        <a:srgbClr val="043673"/>
      </a:accent2>
      <a:accent3>
        <a:srgbClr val="AE132A"/>
      </a:accent3>
      <a:accent4>
        <a:srgbClr val="00853E"/>
      </a:accent4>
      <a:accent5>
        <a:srgbClr val="970E48"/>
      </a:accent5>
      <a:accent6>
        <a:srgbClr val="82C341"/>
      </a:accent6>
      <a:hlink>
        <a:srgbClr val="FFFFFF"/>
      </a:hlink>
      <a:folHlink>
        <a:srgbClr val="575756"/>
      </a:folHlink>
    </a:clrScheme>
    <a:fontScheme name="Royal Canin Font">
      <a:majorFont>
        <a:latin typeface="DIN Pro"/>
        <a:ea typeface=""/>
        <a:cs typeface=""/>
      </a:majorFont>
      <a:minorFont>
        <a:latin typeface="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103146" tIns="0" rIns="103146" bIns="0" rtlCol="0" anchor="t">
        <a:normAutofit/>
      </a:bodyPr>
      <a:lstStyle>
        <a:defPPr algn="l">
          <a:defRPr sz="133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f66b83a0-200b-4e8a-b619-c4731c06cdf3" xsi:nil="true"/>
    <SharedWithUsers xmlns="93ad9280-0fdc-47a1-a88c-0ed6a9f67f6f">
      <UserInfo>
        <DisplayName/>
        <AccountId xsi:nil="true"/>
        <AccountType/>
      </UserInfo>
    </SharedWithUsers>
    <lcf76f155ced4ddcb4097134ff3c332f xmlns="f66b83a0-200b-4e8a-b619-c4731c06cdf3">
      <Terms xmlns="http://schemas.microsoft.com/office/infopath/2007/PartnerControls"/>
    </lcf76f155ced4ddcb4097134ff3c332f>
    <TaxCatchAll xmlns="93ad9280-0fdc-47a1-a88c-0ed6a9f67f6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FAF13F7A50AC418FEC6CC0247333E7" ma:contentTypeVersion="18" ma:contentTypeDescription="Create a new document." ma:contentTypeScope="" ma:versionID="c4df0b4982d38a06d4593a4c46c75858">
  <xsd:schema xmlns:xsd="http://www.w3.org/2001/XMLSchema" xmlns:xs="http://www.w3.org/2001/XMLSchema" xmlns:p="http://schemas.microsoft.com/office/2006/metadata/properties" xmlns:ns2="f66b83a0-200b-4e8a-b619-c4731c06cdf3" xmlns:ns3="93ad9280-0fdc-47a1-a88c-0ed6a9f67f6f" targetNamespace="http://schemas.microsoft.com/office/2006/metadata/properties" ma:root="true" ma:fieldsID="3b50ccff97e1f9225784ed1ed88851cd" ns2:_="" ns3:_="">
    <xsd:import namespace="f66b83a0-200b-4e8a-b619-c4731c06cdf3"/>
    <xsd:import namespace="93ad9280-0fdc-47a1-a88c-0ed6a9f67f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b83a0-200b-4e8a-b619-c4731c06cd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82a8648-6b9d-42b8-a641-c896e6ef16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ad9280-0fdc-47a1-a88c-0ed6a9f67f6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ba20629-aac9-4a10-8c9c-be523e0d161a}" ma:internalName="TaxCatchAll" ma:showField="CatchAllData" ma:web="93ad9280-0fdc-47a1-a88c-0ed6a9f67f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3D91D1-43DF-4FB5-9760-EEF45B4E1A0A}">
  <ds:schemaRefs>
    <ds:schemaRef ds:uri="http://schemas.microsoft.com/office/2006/metadata/properties"/>
    <ds:schemaRef ds:uri="http://schemas.microsoft.com/office/infopath/2007/PartnerControls"/>
    <ds:schemaRef ds:uri="f66b83a0-200b-4e8a-b619-c4731c06cdf3"/>
    <ds:schemaRef ds:uri="93ad9280-0fdc-47a1-a88c-0ed6a9f67f6f"/>
  </ds:schemaRefs>
</ds:datastoreItem>
</file>

<file path=customXml/itemProps2.xml><?xml version="1.0" encoding="utf-8"?>
<ds:datastoreItem xmlns:ds="http://schemas.openxmlformats.org/officeDocument/2006/customXml" ds:itemID="{FD4EA8EE-F425-4EB3-ADC5-9F20A20F2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6b83a0-200b-4e8a-b619-c4731c06cdf3"/>
    <ds:schemaRef ds:uri="93ad9280-0fdc-47a1-a88c-0ed6a9f67f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07E255F-0F6C-4A25-B1EC-4C03AAB2D7F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1</Words>
  <Application>Microsoft Office PowerPoint</Application>
  <PresentationFormat>Widescreen</PresentationFormat>
  <Paragraphs>3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Arial</vt:lpstr>
      <vt:lpstr>Calibri</vt:lpstr>
      <vt:lpstr>Calibri Light</vt:lpstr>
      <vt:lpstr>Courier New</vt:lpstr>
      <vt:lpstr>DIN Pro</vt:lpstr>
      <vt:lpstr>DIN Pro Bold</vt:lpstr>
      <vt:lpstr>DIN Pro Cond</vt:lpstr>
      <vt:lpstr>DIN Pro Regular</vt:lpstr>
      <vt:lpstr>DINOT</vt:lpstr>
      <vt:lpstr>DINOT-Regular</vt:lpstr>
      <vt:lpstr>Police système Courant</vt:lpstr>
      <vt:lpstr>Times New Roman</vt:lpstr>
      <vt:lpstr>Tarkvarakomplekti Office kujundus</vt:lpstr>
      <vt:lpstr>Intercalaire</vt:lpstr>
      <vt:lpstr>think-cell Slide</vt:lpstr>
      <vt:lpstr>OPTIMEERITUD SHN KOOSTISED - KUIVTOIT</vt:lpstr>
      <vt:lpstr>OPTIMEERITUD SHN KOOSTISED - KUIVTOIDUD</vt:lpstr>
      <vt:lpstr>LISAINFO - KUIVTOIDU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EERITUD SHN KOOSTISED - KUIVTOIT</dc:title>
  <dc:creator>Zubovits, Valentina</dc:creator>
  <cp:lastModifiedBy>Zubovits, Valentina</cp:lastModifiedBy>
  <cp:revision>197</cp:revision>
  <dcterms:created xsi:type="dcterms:W3CDTF">2024-02-13T12:20:18Z</dcterms:created>
  <dcterms:modified xsi:type="dcterms:W3CDTF">2024-02-14T11:0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D6FAF13F7A50AC418FEC6CC0247333E7</vt:lpwstr>
  </property>
  <property fmtid="{D5CDD505-2E9C-101B-9397-08002B2CF9AE}" pid="4" name="_SourceUrl">
    <vt:lpwstr/>
  </property>
  <property fmtid="{D5CDD505-2E9C-101B-9397-08002B2CF9AE}" pid="5" name="_SharedFileIndex">
    <vt:lpwstr/>
  </property>
  <property fmtid="{D5CDD505-2E9C-101B-9397-08002B2CF9AE}" pid="6" name="ComplianceAsset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</Properties>
</file>